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436" r:id="rId2"/>
    <p:sldId id="538" r:id="rId3"/>
    <p:sldId id="539" r:id="rId4"/>
    <p:sldId id="540" r:id="rId5"/>
    <p:sldId id="553" r:id="rId6"/>
    <p:sldId id="541" r:id="rId7"/>
    <p:sldId id="542" r:id="rId8"/>
    <p:sldId id="543" r:id="rId9"/>
    <p:sldId id="556" r:id="rId10"/>
    <p:sldId id="557" r:id="rId11"/>
    <p:sldId id="558" r:id="rId12"/>
    <p:sldId id="559" r:id="rId13"/>
    <p:sldId id="560" r:id="rId14"/>
    <p:sldId id="561" r:id="rId15"/>
    <p:sldId id="562" r:id="rId16"/>
    <p:sldId id="554" r:id="rId17"/>
    <p:sldId id="544" r:id="rId18"/>
    <p:sldId id="564" r:id="rId19"/>
    <p:sldId id="563" r:id="rId20"/>
    <p:sldId id="545" r:id="rId21"/>
    <p:sldId id="548" r:id="rId22"/>
    <p:sldId id="549" r:id="rId23"/>
    <p:sldId id="546" r:id="rId24"/>
    <p:sldId id="552" r:id="rId25"/>
    <p:sldId id="531" r:id="rId26"/>
  </p:sldIdLst>
  <p:sldSz cx="12192000" cy="6858000"/>
  <p:notesSz cx="6805613" cy="9939338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47"/>
    <a:srgbClr val="FFCCCC"/>
    <a:srgbClr val="FFE8A1"/>
    <a:srgbClr val="FF9900"/>
    <a:srgbClr val="00B0F0"/>
    <a:srgbClr val="EAEAEA"/>
    <a:srgbClr val="0070C0"/>
    <a:srgbClr val="CCCCFF"/>
    <a:srgbClr val="F1FBFC"/>
    <a:srgbClr val="E2E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4" autoAdjust="0"/>
    <p:restoredTop sz="92921" autoAdjust="0"/>
  </p:normalViewPr>
  <p:slideViewPr>
    <p:cSldViewPr snapToGrid="0">
      <p:cViewPr varScale="1">
        <p:scale>
          <a:sx n="72" d="100"/>
          <a:sy n="72" d="100"/>
        </p:scale>
        <p:origin x="592" y="52"/>
      </p:cViewPr>
      <p:guideLst/>
    </p:cSldViewPr>
  </p:slideViewPr>
  <p:notesTextViewPr>
    <p:cViewPr>
      <p:scale>
        <a:sx n="110" d="100"/>
        <a:sy n="110" d="100"/>
      </p:scale>
      <p:origin x="0" y="0"/>
    </p:cViewPr>
  </p:notesTextViewPr>
  <p:sorterViewPr>
    <p:cViewPr varScale="1">
      <p:scale>
        <a:sx n="100" d="100"/>
        <a:sy n="100" d="100"/>
      </p:scale>
      <p:origin x="0" y="-2544"/>
    </p:cViewPr>
  </p:sorterViewPr>
  <p:notesViewPr>
    <p:cSldViewPr snapToGrid="0">
      <p:cViewPr varScale="1">
        <p:scale>
          <a:sx n="81" d="100"/>
          <a:sy n="81" d="100"/>
        </p:scale>
        <p:origin x="3048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9100" cy="498693"/>
          </a:xfrm>
          <a:prstGeom prst="rect">
            <a:avLst/>
          </a:prstGeom>
        </p:spPr>
        <p:txBody>
          <a:bodyPr vert="horz" lIns="101431" tIns="50715" rIns="101431" bIns="50715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39" y="3"/>
            <a:ext cx="2949100" cy="498693"/>
          </a:xfrm>
          <a:prstGeom prst="rect">
            <a:avLst/>
          </a:prstGeom>
        </p:spPr>
        <p:txBody>
          <a:bodyPr vert="horz" lIns="101431" tIns="50715" rIns="101431" bIns="50715" rtlCol="0"/>
          <a:lstStyle>
            <a:lvl1pPr algn="r">
              <a:defRPr sz="1200"/>
            </a:lvl1pPr>
          </a:lstStyle>
          <a:p>
            <a:fld id="{8E818611-621E-4832-86B5-910F77843490}" type="datetimeFigureOut">
              <a:rPr lang="zh-CN" altLang="en-US" smtClean="0"/>
              <a:t>2024/10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1243013"/>
            <a:ext cx="5970587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1431" tIns="50715" rIns="101431" bIns="50715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83311"/>
            <a:ext cx="5444490" cy="3913614"/>
          </a:xfrm>
          <a:prstGeom prst="rect">
            <a:avLst/>
          </a:prstGeom>
        </p:spPr>
        <p:txBody>
          <a:bodyPr vert="horz" lIns="101431" tIns="50715" rIns="101431" bIns="50715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4" y="9440649"/>
            <a:ext cx="2949100" cy="498691"/>
          </a:xfrm>
          <a:prstGeom prst="rect">
            <a:avLst/>
          </a:prstGeom>
        </p:spPr>
        <p:txBody>
          <a:bodyPr vert="horz" lIns="101431" tIns="50715" rIns="101431" bIns="50715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39" y="9440649"/>
            <a:ext cx="2949100" cy="498691"/>
          </a:xfrm>
          <a:prstGeom prst="rect">
            <a:avLst/>
          </a:prstGeom>
        </p:spPr>
        <p:txBody>
          <a:bodyPr vert="horz" lIns="101431" tIns="50715" rIns="101431" bIns="50715" rtlCol="0" anchor="b"/>
          <a:lstStyle>
            <a:lvl1pPr algn="r">
              <a:defRPr sz="1200"/>
            </a:lvl1pPr>
          </a:lstStyle>
          <a:p>
            <a:fld id="{9CD21830-2C38-4157-B31F-414EF26E38E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182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D21830-2C38-4157-B31F-414EF26E38E1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0269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D21830-2C38-4157-B31F-414EF26E38E1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1094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D21830-2C38-4157-B31F-414EF26E38E1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3521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D21830-2C38-4157-B31F-414EF26E38E1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0060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D21830-2C38-4157-B31F-414EF26E38E1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60535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0DC161-65BB-4D57-B50E-B696DDD64140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71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14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069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7" grpId="0"/>
      <p:bldP spid="8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018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4534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314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977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924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0168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468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835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0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337FDAD-9D99-45B8-8E1B-B2A288BC5ED0}"/>
              </a:ext>
            </a:extLst>
          </p:cNvPr>
          <p:cNvSpPr/>
          <p:nvPr userDrawn="1"/>
        </p:nvSpPr>
        <p:spPr>
          <a:xfrm>
            <a:off x="4418279" y="0"/>
            <a:ext cx="7773721" cy="6858000"/>
          </a:xfrm>
          <a:custGeom>
            <a:avLst/>
            <a:gdLst>
              <a:gd name="connsiteX0" fmla="*/ 4834816 w 7773721"/>
              <a:gd name="connsiteY0" fmla="*/ 0 h 6858000"/>
              <a:gd name="connsiteX1" fmla="*/ 7773721 w 7773721"/>
              <a:gd name="connsiteY1" fmla="*/ 0 h 6858000"/>
              <a:gd name="connsiteX2" fmla="*/ 7773721 w 7773721"/>
              <a:gd name="connsiteY2" fmla="*/ 6858000 h 6858000"/>
              <a:gd name="connsiteX3" fmla="*/ 0 w 7773721"/>
              <a:gd name="connsiteY3" fmla="*/ 6858000 h 6858000"/>
              <a:gd name="connsiteX4" fmla="*/ 2660 w 7773721"/>
              <a:gd name="connsiteY4" fmla="*/ 6846245 h 6858000"/>
              <a:gd name="connsiteX5" fmla="*/ 4834816 w 777372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3721" h="6858000">
                <a:moveTo>
                  <a:pt x="4834816" y="0"/>
                </a:moveTo>
                <a:lnTo>
                  <a:pt x="7773721" y="0"/>
                </a:lnTo>
                <a:lnTo>
                  <a:pt x="7773721" y="6858000"/>
                </a:lnTo>
                <a:lnTo>
                  <a:pt x="0" y="6858000"/>
                </a:lnTo>
                <a:lnTo>
                  <a:pt x="2660" y="6846245"/>
                </a:lnTo>
                <a:cubicBezTo>
                  <a:pt x="58314" y="6604958"/>
                  <a:pt x="1008571" y="2702151"/>
                  <a:pt x="4834816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62B4C86-3507-424A-A388-70555217B90B}"/>
              </a:ext>
            </a:extLst>
          </p:cNvPr>
          <p:cNvSpPr/>
          <p:nvPr userDrawn="1"/>
        </p:nvSpPr>
        <p:spPr>
          <a:xfrm>
            <a:off x="0" y="4297680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39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8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37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8" grpId="0"/>
      <p:bldP spid="9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/>
        </p:nvSpPr>
        <p:spPr>
          <a:xfrm>
            <a:off x="0" y="4297680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337FDAD-9D99-45B8-8E1B-B2A288BC5ED0}"/>
              </a:ext>
            </a:extLst>
          </p:cNvPr>
          <p:cNvSpPr/>
          <p:nvPr userDrawn="1"/>
        </p:nvSpPr>
        <p:spPr>
          <a:xfrm>
            <a:off x="4418279" y="0"/>
            <a:ext cx="7773721" cy="6858000"/>
          </a:xfrm>
          <a:custGeom>
            <a:avLst/>
            <a:gdLst>
              <a:gd name="connsiteX0" fmla="*/ 4834816 w 7773721"/>
              <a:gd name="connsiteY0" fmla="*/ 0 h 6858000"/>
              <a:gd name="connsiteX1" fmla="*/ 7773721 w 7773721"/>
              <a:gd name="connsiteY1" fmla="*/ 0 h 6858000"/>
              <a:gd name="connsiteX2" fmla="*/ 7773721 w 7773721"/>
              <a:gd name="connsiteY2" fmla="*/ 6858000 h 6858000"/>
              <a:gd name="connsiteX3" fmla="*/ 0 w 7773721"/>
              <a:gd name="connsiteY3" fmla="*/ 6858000 h 6858000"/>
              <a:gd name="connsiteX4" fmla="*/ 2660 w 7773721"/>
              <a:gd name="connsiteY4" fmla="*/ 6846245 h 6858000"/>
              <a:gd name="connsiteX5" fmla="*/ 4834816 w 777372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3721" h="6858000">
                <a:moveTo>
                  <a:pt x="4834816" y="0"/>
                </a:moveTo>
                <a:lnTo>
                  <a:pt x="7773721" y="0"/>
                </a:lnTo>
                <a:lnTo>
                  <a:pt x="7773721" y="6858000"/>
                </a:lnTo>
                <a:lnTo>
                  <a:pt x="0" y="6858000"/>
                </a:lnTo>
                <a:lnTo>
                  <a:pt x="2660" y="6846245"/>
                </a:lnTo>
                <a:cubicBezTo>
                  <a:pt x="58314" y="6604958"/>
                  <a:pt x="1008571" y="2702151"/>
                  <a:pt x="4834816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62B4C86-3507-424A-A388-70555217B90B}"/>
              </a:ext>
            </a:extLst>
          </p:cNvPr>
          <p:cNvSpPr/>
          <p:nvPr userDrawn="1"/>
        </p:nvSpPr>
        <p:spPr>
          <a:xfrm>
            <a:off x="0" y="4297680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2">
              <a:alpha val="39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8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1639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8" grpId="0"/>
      <p:bldP spid="9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9628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233958-C5A9-4238-853B-5144AF62D3A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700213"/>
            <a:ext cx="11277600" cy="4465637"/>
          </a:xfrm>
        </p:spPr>
        <p:txBody>
          <a:bodyPr>
            <a:noAutofit/>
          </a:bodyPr>
          <a:lstStyle>
            <a:lvl1pPr>
              <a:defRPr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。</a:t>
            </a:r>
            <a:br>
              <a:rPr lang="en-US" dirty="0"/>
            </a:br>
            <a:r>
              <a:rPr lang="zh-CN" altLang="en-US" dirty="0"/>
              <a:t>需要增加项目级别，请选择文本并按</a:t>
            </a:r>
            <a:r>
              <a:rPr lang="en-US" altLang="zh-CN" dirty="0"/>
              <a:t>Tab</a:t>
            </a:r>
            <a:r>
              <a:rPr lang="zh-CN" altLang="en-US" dirty="0"/>
              <a:t>键</a:t>
            </a:r>
            <a:r>
              <a:rPr lang="en-US" dirty="0"/>
              <a:t>.</a:t>
            </a:r>
            <a:br>
              <a:rPr lang="en-US" dirty="0"/>
            </a:br>
            <a:r>
              <a:rPr lang="zh-CN" altLang="en-US" dirty="0"/>
              <a:t>需要删减项目级别，选择该项目按</a:t>
            </a:r>
            <a:r>
              <a:rPr lang="en-US" dirty="0"/>
              <a:t>Shift + Tab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8C2BD4-3EC2-4A7E-91BD-9BD1BA8B4818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98E4D4-328D-43B7-873A-5036C117D0FC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11937E6-3BCF-4675-8A7E-F26AFFBC2B6B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89F60AF4-DF00-4EF9-A8A3-529104D21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10576504" y="13209"/>
            <a:ext cx="1596683" cy="407963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C00000"/>
                </a:solidFill>
              </a:rPr>
              <a:t>讨论稿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22276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4100EC14-7AAF-4161-851B-FFF71D61A4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1089" y="1700213"/>
            <a:ext cx="5573713" cy="4465637"/>
          </a:xfrm>
        </p:spPr>
        <p:txBody>
          <a:bodyPr>
            <a:noAutofit/>
          </a:bodyPr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单击添加文字</a:t>
            </a:r>
            <a:r>
              <a:rPr lang="en-US" altLang="zh-CN" dirty="0"/>
              <a:t>.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。 </a:t>
            </a:r>
            <a:endParaRPr lang="en-US" altLang="zh-CN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0F7FA9CB-A9AB-4B9E-98DF-10D2BCFA01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CCD1BF-976D-4771-8DB4-48432E424105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67BC215-88DB-4ACD-8635-945E502C4F2E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B2BC92-6CB2-4CED-B53E-1E92DE0DA65F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BBAD1B7-034C-4FF2-9A18-EA7A76698D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700213"/>
            <a:ext cx="5573713" cy="4465637"/>
          </a:xfrm>
        </p:spPr>
        <p:txBody>
          <a:bodyPr>
            <a:noAutofit/>
          </a:bodyPr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单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。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537293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ctr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07EDEB0-9CF4-409D-AA07-B71020D1BB1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700213"/>
            <a:ext cx="3671888" cy="4465637"/>
          </a:xfrm>
        </p:spPr>
        <p:txBody>
          <a:bodyPr>
            <a:noAutofit/>
          </a:bodyPr>
          <a:lstStyle>
            <a:lvl1pPr algn="ctr"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 </a:t>
            </a:r>
            <a:r>
              <a:rPr lang="en-US" dirty="0"/>
              <a:t>	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AACCC2E-5815-4572-B936-7F6687327AE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59263" y="1700213"/>
            <a:ext cx="3671887" cy="4465637"/>
          </a:xfrm>
        </p:spPr>
        <p:txBody>
          <a:bodyPr>
            <a:noAutofit/>
          </a:bodyPr>
          <a:lstStyle>
            <a:lvl1pPr algn="ctr"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altLang="zh-CN" dirty="0"/>
              <a:t>.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 </a:t>
            </a:r>
            <a:r>
              <a:rPr lang="en-US" dirty="0"/>
              <a:t>	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619B074-492B-4EE4-BE9D-3163877FA94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61325" y="1700213"/>
            <a:ext cx="3671888" cy="4465637"/>
          </a:xfrm>
        </p:spPr>
        <p:txBody>
          <a:bodyPr>
            <a:noAutofit/>
          </a:bodyPr>
          <a:lstStyle>
            <a:lvl1pPr algn="ctr"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altLang="zh-CN" dirty="0"/>
              <a:t>.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 </a:t>
            </a:r>
            <a:r>
              <a:rPr lang="en-US" dirty="0"/>
              <a:t>	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3FAC342-2B8E-4271-A012-78479837BD1C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76E840F-C9B6-4E42-961B-00765FB26D4C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D2B8018-C652-4851-A211-64713765E4C5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40909CE6-D0EF-472A-A484-9ED3B270DD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24" name="图片 2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87987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hirds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44DAE40-13B9-42FC-9ED2-811AE2F295B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700213"/>
            <a:ext cx="3671888" cy="44656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点击添加文字</a:t>
            </a:r>
            <a:r>
              <a:rPr lang="en-US" altLang="zh-CN" dirty="0"/>
              <a:t>.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 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en-GB" altLang="zh-C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C54FA13-46AE-4B42-B0B0-50AC98136A2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59263" y="1700213"/>
            <a:ext cx="7475537" cy="446563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点击添加文字</a:t>
            </a:r>
            <a:r>
              <a:rPr lang="en-US" altLang="zh-CN" dirty="0"/>
              <a:t>.</a:t>
            </a:r>
            <a:br>
              <a:rPr lang="en-US" altLang="zh-CN" dirty="0"/>
            </a:br>
            <a:r>
              <a:rPr lang="zh-CN" altLang="en-US" dirty="0"/>
              <a:t>当从其它幻灯片粘贴内容，请单击右键选择“只保留文本” </a:t>
            </a:r>
            <a:endParaRPr lang="en-US" altLang="zh-CN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37822C84-1F59-4103-AA28-EFF3665ABA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4DD94A4-8F74-43F6-9E8D-8B007A041F1A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2B26127-FEF6-4C3D-A17E-AD0FFB229D57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686CE71-0833-4BD6-8210-56F4088D6CFD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97148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hirds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1A1807-AE0F-469B-BBB8-C407F97633E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7200" y="1700213"/>
            <a:ext cx="7473950" cy="4465637"/>
          </a:xfrm>
        </p:spPr>
        <p:txBody>
          <a:bodyPr>
            <a:noAutofit/>
          </a:bodyPr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从其它幻灯片粘贴内容，请单击右键选择“只保留文本”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8253FDE-CEF4-4819-BE63-E7F69BBDB43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61325" y="1700213"/>
            <a:ext cx="3673475" cy="4465637"/>
          </a:xfrm>
        </p:spPr>
        <p:txBody>
          <a:bodyPr>
            <a:noAutofit/>
          </a:bodyPr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单击添加文字</a:t>
            </a:r>
            <a:r>
              <a:rPr lang="en-US" altLang="zh-CN" dirty="0"/>
              <a:t>. </a:t>
            </a:r>
            <a:br>
              <a:rPr lang="en-US" altLang="zh-CN" dirty="0"/>
            </a:br>
            <a:r>
              <a:rPr lang="zh-CN" altLang="en-US" dirty="0"/>
              <a:t>当从其它幻灯片粘贴内容，请单击右键选择“只保留文本”</a:t>
            </a:r>
            <a:endParaRPr lang="en-US" altLang="zh-CN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C6A1F69-CC42-4389-87EF-5DBE74E23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B09F947-96A7-4871-AA0E-62E42751E69A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92D8BA3-0B32-4A94-8DE0-06D7ABAE5524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CE26C16-D359-484A-B64C-F061C7BC0335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198965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aphic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ctr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EC5B87D-FA92-4C5B-B049-EA47FEAF23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0056" y="4137949"/>
            <a:ext cx="3671888" cy="2047740"/>
          </a:xfrm>
        </p:spPr>
        <p:txBody>
          <a:bodyPr>
            <a:noAutofit/>
          </a:bodyPr>
          <a:lstStyle>
            <a:lvl1pPr algn="ctr"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 algn="ctr">
              <a:defRPr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/>
            <a:r>
              <a:rPr lang="zh-CN" altLang="en-US" dirty="0"/>
              <a:t>点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需要从其它幻灯片复制粘贴内容，请单击右键选择“只保留文本”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C6DC585-05CB-49B8-951A-050D4C90F90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57200" y="1700213"/>
            <a:ext cx="3671888" cy="2287587"/>
          </a:xfrm>
        </p:spPr>
        <p:txBody>
          <a:bodyPr vert="horz" lIns="0" tIns="0" rIns="0" bIns="0" rtlCol="0">
            <a:noAutofit/>
          </a:bodyPr>
          <a:lstStyle>
            <a:lvl1pPr>
              <a:defRPr lang="en-GB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 algn="ctr"/>
            <a:r>
              <a:rPr lang="zh-CN" altLang="en-US" dirty="0"/>
              <a:t>单击添加图标或者图表</a:t>
            </a:r>
            <a:endParaRPr lang="en-GB" dirty="0"/>
          </a:p>
        </p:txBody>
      </p:sp>
      <p:sp>
        <p:nvSpPr>
          <p:cNvPr id="37" name="Content Placeholder 7">
            <a:extLst>
              <a:ext uri="{FF2B5EF4-FFF2-40B4-BE49-F238E27FC236}">
                <a16:creationId xmlns:a16="http://schemas.microsoft.com/office/drawing/2014/main" id="{A59ECB28-B670-4418-9489-EFD51CEF98F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59263" y="1700213"/>
            <a:ext cx="3671888" cy="2287587"/>
          </a:xfrm>
        </p:spPr>
        <p:txBody>
          <a:bodyPr anchor="ctr" anchorCtr="0"/>
          <a:lstStyle>
            <a:lvl1pPr algn="ctr">
              <a:defRPr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单击添加图标或者图表</a:t>
            </a:r>
            <a:endParaRPr lang="en-GB" dirty="0"/>
          </a:p>
        </p:txBody>
      </p:sp>
      <p:sp>
        <p:nvSpPr>
          <p:cNvPr id="38" name="Content Placeholder 7">
            <a:extLst>
              <a:ext uri="{FF2B5EF4-FFF2-40B4-BE49-F238E27FC236}">
                <a16:creationId xmlns:a16="http://schemas.microsoft.com/office/drawing/2014/main" id="{F375D14B-DF1B-4872-99C5-5DD5787769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62912" y="1700213"/>
            <a:ext cx="3671888" cy="2287587"/>
          </a:xfrm>
        </p:spPr>
        <p:txBody>
          <a:bodyPr vert="horz" lIns="0" tIns="0" rIns="0" bIns="0" rtlCol="0">
            <a:noAutofit/>
          </a:bodyPr>
          <a:lstStyle>
            <a:lvl1pPr>
              <a:defRPr lang="en-GB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 algn="ctr"/>
            <a:r>
              <a:rPr lang="zh-CN" altLang="en-US" dirty="0"/>
              <a:t>单击添加图标或者图表</a:t>
            </a:r>
            <a:r>
              <a:rPr lang="en-US" dirty="0"/>
              <a:t> </a:t>
            </a:r>
            <a:endParaRPr lang="en-GB" dirty="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38A8C73A-7142-4454-8132-90FC6AEB31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51DE55D-632C-423A-888B-5119B3168E57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6852AB6-1687-410B-BF3B-5828964A9A46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C83975C-ECAE-4E51-8D35-A41132DE4B0E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EC5B87D-FA92-4C5B-B049-EA47FEAF23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44" y="4137949"/>
            <a:ext cx="3671888" cy="20477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 lang="en-GB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 algn="ctr"/>
            <a:r>
              <a:rPr lang="zh-CN" altLang="en-US" dirty="0"/>
              <a:t>点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需要从其它幻灯片复制粘贴内容，请单击右键选择“只保留文本”</a:t>
            </a:r>
            <a:endParaRPr lang="en-US" dirty="0"/>
          </a:p>
          <a:p>
            <a:pPr lvl="1" algn="ctr"/>
            <a:r>
              <a:rPr lang="en-US" dirty="0"/>
              <a:t>Second level</a:t>
            </a:r>
          </a:p>
          <a:p>
            <a:pPr lvl="2" algn="ctr"/>
            <a:r>
              <a:rPr lang="en-US" dirty="0"/>
              <a:t>Third level</a:t>
            </a:r>
          </a:p>
          <a:p>
            <a:pPr lvl="3" algn="ctr"/>
            <a:r>
              <a:rPr lang="en-US" dirty="0"/>
              <a:t>Fourth level</a:t>
            </a:r>
          </a:p>
          <a:p>
            <a:pPr lvl="4" algn="ctr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EC5B87D-FA92-4C5B-B049-EA47FEAF23F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2912" y="4119958"/>
            <a:ext cx="3671888" cy="20477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2pPr>
            <a:lvl3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3pPr>
            <a:lvl4pPr>
              <a:defRPr lang="en-US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4pPr>
            <a:lvl5pPr>
              <a:defRPr lang="en-GB" dirty="0"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5pPr>
          </a:lstStyle>
          <a:p>
            <a:pPr lvl="0" algn="ctr"/>
            <a:r>
              <a:rPr lang="zh-CN" altLang="en-US" dirty="0"/>
              <a:t>点击添加文字</a:t>
            </a:r>
            <a:r>
              <a:rPr lang="en-US" dirty="0"/>
              <a:t>. </a:t>
            </a:r>
            <a:br>
              <a:rPr lang="en-US" dirty="0"/>
            </a:br>
            <a:r>
              <a:rPr lang="zh-CN" altLang="en-US" dirty="0"/>
              <a:t>当需要从其它幻灯片复制粘贴内容，请单击右键选择“只保留文本”</a:t>
            </a:r>
            <a:endParaRPr lang="en-US" dirty="0"/>
          </a:p>
          <a:p>
            <a:pPr lvl="1" algn="ctr"/>
            <a:r>
              <a:rPr lang="en-US" dirty="0"/>
              <a:t>Second level</a:t>
            </a:r>
          </a:p>
          <a:p>
            <a:pPr lvl="2" algn="ctr"/>
            <a:r>
              <a:rPr lang="en-US" dirty="0"/>
              <a:t>Third level</a:t>
            </a:r>
          </a:p>
          <a:p>
            <a:pPr lvl="3" algn="ctr"/>
            <a:r>
              <a:rPr lang="en-US" dirty="0"/>
              <a:t>Fourth level</a:t>
            </a:r>
          </a:p>
          <a:p>
            <a:pPr lvl="4" algn="ctr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67468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2E87BDA-B02C-4AC3-A8A2-12593DB9E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89A14B-F91D-42EE-ABBA-1E27833AB4BF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3D9333-A37F-4F38-B1F7-E81C0FC7B4F9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B0AC59C-8E92-4693-974B-C175CBFAB7AB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618256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2E87BDA-B02C-4AC3-A8A2-12593DB9E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723A8C0-95E9-47EE-8895-FDE8EF9CF874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800611-BD44-4DB9-9544-AAF4E5F54113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0BA7924-FD19-4119-8784-795C514C7B33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ctr">
              <a:defRPr sz="28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332399"/>
          </a:xfrm>
        </p:spPr>
        <p:txBody>
          <a:bodyPr lIns="0" tIns="0" rIns="0" bIns="0">
            <a:spAutoFit/>
          </a:bodyPr>
          <a:lstStyle>
            <a:lvl1pPr marL="0" indent="0" algn="ctr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93314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65CAD4F-A187-4BFC-A248-BAC93F78A3D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 tIns="2916000"/>
          <a:lstStyle>
            <a:lvl1pPr algn="ctr"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 dirty="0"/>
              <a:t>单击添加图标或者图片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6728"/>
            <a:ext cx="12192000" cy="1116957"/>
          </a:xfrm>
          <a:solidFill>
            <a:schemeClr val="bg1">
              <a:alpha val="80000"/>
            </a:schemeClr>
          </a:solidFill>
        </p:spPr>
        <p:txBody>
          <a:bodyPr wrap="square" lIns="457200" tIns="525600" rIns="0" bIns="0" anchor="t" anchorCtr="0">
            <a:noAutofit/>
          </a:bodyPr>
          <a:lstStyle>
            <a:lvl1pPr algn="l">
              <a:defRPr sz="28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77158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3038151"/>
            <a:ext cx="3188881" cy="387798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8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B171DD-1B71-4C50-8969-55129AAE5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4DA8449-D907-4D3D-AFEB-23AA57FF7B99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C840A6C-AD12-4349-B245-5F4D0E6CC91C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DD65A-0C6E-425A-997D-5A0688B2383A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" y="6344147"/>
            <a:ext cx="1088136" cy="4363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146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7347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k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3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2E87BDA-B02C-4AC3-A8A2-12593DB9E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89A14B-F91D-42EE-ABBA-1E27833AB4BF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3D9333-A37F-4F38-B1F7-E81C0FC7B4F9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B0AC59C-8E92-4693-974B-C175CBFAB7AB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44" y="6086687"/>
            <a:ext cx="1045050" cy="3753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21443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green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 b="1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 b="1">
                <a:solidFill>
                  <a:schemeClr val="accent3">
                    <a:lumMod val="40000"/>
                    <a:lumOff val="60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2E87BDA-B02C-4AC3-A8A2-12593DB9E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89A14B-F91D-42EE-ABBA-1E27833AB4BF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3D9333-A37F-4F38-B1F7-E81C0FC7B4F9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B0AC59C-8E92-4693-974B-C175CBFAB7AB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44" y="6086687"/>
            <a:ext cx="1045050" cy="3753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038494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en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5E27FF-3DF2-491E-B633-9D4430B8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4" y="832395"/>
            <a:ext cx="11277600" cy="387798"/>
          </a:xfrm>
        </p:spPr>
        <p:txBody>
          <a:bodyPr lIns="0" tIns="0" rIns="0" bIns="0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164118-06B8-47E4-91E2-D5262BE7A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44" y="457200"/>
            <a:ext cx="11277600" cy="288220"/>
          </a:xfrm>
        </p:spPr>
        <p:txBody>
          <a:bodyPr lIns="0" tIns="0" rIns="0" bIns="0">
            <a:spAutoFit/>
          </a:bodyPr>
          <a:lstStyle>
            <a:lvl1pPr marL="0" indent="0" algn="l">
              <a:buFontTx/>
              <a:buNone/>
              <a:defRPr sz="1800">
                <a:solidFill>
                  <a:schemeClr val="accent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2E87BDA-B02C-4AC3-A8A2-12593DB9E8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757" y="6462013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89A14B-F91D-42EE-ABBA-1E27833AB4BF}"/>
              </a:ext>
            </a:extLst>
          </p:cNvPr>
          <p:cNvGrpSpPr/>
          <p:nvPr userDrawn="1"/>
        </p:nvGrpSpPr>
        <p:grpSpPr>
          <a:xfrm>
            <a:off x="11574160" y="5574422"/>
            <a:ext cx="617840" cy="1283579"/>
            <a:chOff x="11086236" y="4560748"/>
            <a:chExt cx="1105764" cy="229725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3D9333-A37F-4F38-B1F7-E81C0FC7B4F9}"/>
                </a:ext>
              </a:extLst>
            </p:cNvPr>
            <p:cNvSpPr/>
            <p:nvPr userDrawn="1"/>
          </p:nvSpPr>
          <p:spPr>
            <a:xfrm>
              <a:off x="11086236" y="5360896"/>
              <a:ext cx="1105764" cy="1497105"/>
            </a:xfrm>
            <a:custGeom>
              <a:avLst/>
              <a:gdLst>
                <a:gd name="connsiteX0" fmla="*/ 1105764 w 1105764"/>
                <a:gd name="connsiteY0" fmla="*/ 0 h 1497105"/>
                <a:gd name="connsiteX1" fmla="*/ 1105764 w 1105764"/>
                <a:gd name="connsiteY1" fmla="*/ 434708 h 1497105"/>
                <a:gd name="connsiteX2" fmla="*/ 1049798 w 1105764"/>
                <a:gd name="connsiteY2" fmla="*/ 475617 h 1497105"/>
                <a:gd name="connsiteX3" fmla="*/ 171554 w 1105764"/>
                <a:gd name="connsiteY3" fmla="*/ 1497105 h 1497105"/>
                <a:gd name="connsiteX4" fmla="*/ 0 w 1105764"/>
                <a:gd name="connsiteY4" fmla="*/ 1497105 h 1497105"/>
                <a:gd name="connsiteX5" fmla="*/ 1054551 w 1105764"/>
                <a:gd name="connsiteY5" fmla="*/ 39139 h 1497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1497105">
                  <a:moveTo>
                    <a:pt x="1105764" y="0"/>
                  </a:moveTo>
                  <a:lnTo>
                    <a:pt x="1105764" y="434708"/>
                  </a:lnTo>
                  <a:lnTo>
                    <a:pt x="1049798" y="475617"/>
                  </a:lnTo>
                  <a:cubicBezTo>
                    <a:pt x="692115" y="755399"/>
                    <a:pt x="392431" y="1102529"/>
                    <a:pt x="171554" y="1497105"/>
                  </a:cubicBezTo>
                  <a:lnTo>
                    <a:pt x="0" y="1497105"/>
                  </a:lnTo>
                  <a:cubicBezTo>
                    <a:pt x="225165" y="921682"/>
                    <a:pt x="591527" y="420689"/>
                    <a:pt x="1054551" y="391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B0AC59C-8E92-4693-974B-C175CBFAB7AB}"/>
                </a:ext>
              </a:extLst>
            </p:cNvPr>
            <p:cNvSpPr/>
            <p:nvPr userDrawn="1"/>
          </p:nvSpPr>
          <p:spPr>
            <a:xfrm>
              <a:off x="11086236" y="4560748"/>
              <a:ext cx="1105764" cy="2297253"/>
            </a:xfrm>
            <a:custGeom>
              <a:avLst/>
              <a:gdLst>
                <a:gd name="connsiteX0" fmla="*/ 1105764 w 1105764"/>
                <a:gd name="connsiteY0" fmla="*/ 0 h 2297253"/>
                <a:gd name="connsiteX1" fmla="*/ 1105764 w 1105764"/>
                <a:gd name="connsiteY1" fmla="*/ 524376 h 2297253"/>
                <a:gd name="connsiteX2" fmla="*/ 1015497 w 1105764"/>
                <a:gd name="connsiteY2" fmla="*/ 620484 h 2297253"/>
                <a:gd name="connsiteX3" fmla="*/ 182991 w 1105764"/>
                <a:gd name="connsiteY3" fmla="*/ 2297253 h 2297253"/>
                <a:gd name="connsiteX4" fmla="*/ 0 w 1105764"/>
                <a:gd name="connsiteY4" fmla="*/ 2297253 h 2297253"/>
                <a:gd name="connsiteX5" fmla="*/ 1006802 w 1105764"/>
                <a:gd name="connsiteY5" fmla="*/ 99026 h 22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64" h="2297253">
                  <a:moveTo>
                    <a:pt x="1105764" y="0"/>
                  </a:moveTo>
                  <a:lnTo>
                    <a:pt x="1105764" y="524376"/>
                  </a:lnTo>
                  <a:lnTo>
                    <a:pt x="1015497" y="620484"/>
                  </a:lnTo>
                  <a:cubicBezTo>
                    <a:pt x="608927" y="1090749"/>
                    <a:pt x="315945" y="1664649"/>
                    <a:pt x="182991" y="2297253"/>
                  </a:cubicBezTo>
                  <a:lnTo>
                    <a:pt x="0" y="2297253"/>
                  </a:lnTo>
                  <a:cubicBezTo>
                    <a:pt x="102576" y="1451636"/>
                    <a:pt x="466749" y="689204"/>
                    <a:pt x="1006802" y="99026"/>
                  </a:cubicBezTo>
                  <a:close/>
                </a:path>
              </a:pathLst>
            </a:custGeom>
            <a:solidFill>
              <a:schemeClr val="bg1">
                <a:alpha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rgbClr val="4C4C4C"/>
                </a:solidFill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44" y="6086687"/>
            <a:ext cx="1045050" cy="3753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62498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E79295E-C0E9-424C-830D-647530747C2D}"/>
              </a:ext>
            </a:extLst>
          </p:cNvPr>
          <p:cNvSpPr/>
          <p:nvPr userDrawn="1"/>
        </p:nvSpPr>
        <p:spPr>
          <a:xfrm>
            <a:off x="0" y="2"/>
            <a:ext cx="10119686" cy="6865148"/>
          </a:xfrm>
          <a:custGeom>
            <a:avLst/>
            <a:gdLst>
              <a:gd name="connsiteX0" fmla="*/ 0 w 10119686"/>
              <a:gd name="connsiteY0" fmla="*/ 0 h 6865148"/>
              <a:gd name="connsiteX1" fmla="*/ 5820758 w 10119686"/>
              <a:gd name="connsiteY1" fmla="*/ 0 h 6865148"/>
              <a:gd name="connsiteX2" fmla="*/ 6053997 w 10119686"/>
              <a:gd name="connsiteY2" fmla="*/ 165860 h 6865148"/>
              <a:gd name="connsiteX3" fmla="*/ 10043964 w 10119686"/>
              <a:gd name="connsiteY3" fmla="*/ 6441129 h 6865148"/>
              <a:gd name="connsiteX4" fmla="*/ 10119686 w 10119686"/>
              <a:gd name="connsiteY4" fmla="*/ 6865148 h 6865148"/>
              <a:gd name="connsiteX5" fmla="*/ 0 w 10119686"/>
              <a:gd name="connsiteY5" fmla="*/ 6865148 h 6865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19686" h="6865148">
                <a:moveTo>
                  <a:pt x="0" y="0"/>
                </a:moveTo>
                <a:lnTo>
                  <a:pt x="5820758" y="0"/>
                </a:lnTo>
                <a:lnTo>
                  <a:pt x="6053997" y="165860"/>
                </a:lnTo>
                <a:cubicBezTo>
                  <a:pt x="8068095" y="1672112"/>
                  <a:pt x="9521339" y="3887125"/>
                  <a:pt x="10043964" y="6441129"/>
                </a:cubicBezTo>
                <a:lnTo>
                  <a:pt x="10119686" y="6865148"/>
                </a:lnTo>
                <a:lnTo>
                  <a:pt x="0" y="68651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D36D81C-ACEC-49A8-A1F7-DB36681C5BBE}"/>
              </a:ext>
            </a:extLst>
          </p:cNvPr>
          <p:cNvSpPr/>
          <p:nvPr userDrawn="1"/>
        </p:nvSpPr>
        <p:spPr>
          <a:xfrm>
            <a:off x="7171690" y="164384"/>
            <a:ext cx="5020311" cy="6693614"/>
          </a:xfrm>
          <a:custGeom>
            <a:avLst/>
            <a:gdLst>
              <a:gd name="connsiteX0" fmla="*/ 5020311 w 5020311"/>
              <a:gd name="connsiteY0" fmla="*/ 0 h 6693614"/>
              <a:gd name="connsiteX1" fmla="*/ 5020311 w 5020311"/>
              <a:gd name="connsiteY1" fmla="*/ 2129048 h 6693614"/>
              <a:gd name="connsiteX2" fmla="*/ 4951067 w 5020311"/>
              <a:gd name="connsiteY2" fmla="*/ 2179662 h 6693614"/>
              <a:gd name="connsiteX3" fmla="*/ 1060827 w 5020311"/>
              <a:gd name="connsiteY3" fmla="*/ 6482746 h 6693614"/>
              <a:gd name="connsiteX4" fmla="*/ 932028 w 5020311"/>
              <a:gd name="connsiteY4" fmla="*/ 6693614 h 6693614"/>
              <a:gd name="connsiteX5" fmla="*/ 0 w 5020311"/>
              <a:gd name="connsiteY5" fmla="*/ 6693614 h 6693614"/>
              <a:gd name="connsiteX6" fmla="*/ 8504 w 5020311"/>
              <a:gd name="connsiteY6" fmla="*/ 6672867 h 6693614"/>
              <a:gd name="connsiteX7" fmla="*/ 4974421 w 5020311"/>
              <a:gd name="connsiteY7" fmla="*/ 35071 h 669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0311" h="6693614">
                <a:moveTo>
                  <a:pt x="5020311" y="0"/>
                </a:moveTo>
                <a:lnTo>
                  <a:pt x="5020311" y="2129048"/>
                </a:lnTo>
                <a:lnTo>
                  <a:pt x="4951067" y="2179662"/>
                </a:lnTo>
                <a:cubicBezTo>
                  <a:pt x="3413308" y="3382509"/>
                  <a:pt x="2093731" y="4838706"/>
                  <a:pt x="1060827" y="6482746"/>
                </a:cubicBezTo>
                <a:lnTo>
                  <a:pt x="932028" y="6693614"/>
                </a:lnTo>
                <a:lnTo>
                  <a:pt x="0" y="6693614"/>
                </a:lnTo>
                <a:lnTo>
                  <a:pt x="8504" y="6672867"/>
                </a:lnTo>
                <a:cubicBezTo>
                  <a:pt x="1126183" y="4065954"/>
                  <a:pt x="2841588" y="1792610"/>
                  <a:pt x="4974421" y="35071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E208027-352A-4FC3-8BA1-68329082CA71}"/>
              </a:ext>
            </a:extLst>
          </p:cNvPr>
          <p:cNvSpPr/>
          <p:nvPr userDrawn="1"/>
        </p:nvSpPr>
        <p:spPr>
          <a:xfrm>
            <a:off x="7031651" y="0"/>
            <a:ext cx="4211311" cy="6865146"/>
          </a:xfrm>
          <a:custGeom>
            <a:avLst/>
            <a:gdLst>
              <a:gd name="connsiteX0" fmla="*/ 2374303 w 4211311"/>
              <a:gd name="connsiteY0" fmla="*/ 0 h 6865146"/>
              <a:gd name="connsiteX1" fmla="*/ 4211311 w 4211311"/>
              <a:gd name="connsiteY1" fmla="*/ 0 h 6865146"/>
              <a:gd name="connsiteX2" fmla="*/ 4200064 w 4211311"/>
              <a:gd name="connsiteY2" fmla="*/ 14300 h 6865146"/>
              <a:gd name="connsiteX3" fmla="*/ 946330 w 4211311"/>
              <a:gd name="connsiteY3" fmla="*/ 6855705 h 6865146"/>
              <a:gd name="connsiteX4" fmla="*/ 944205 w 4211311"/>
              <a:gd name="connsiteY4" fmla="*/ 6865146 h 6865146"/>
              <a:gd name="connsiteX5" fmla="*/ 0 w 4211311"/>
              <a:gd name="connsiteY5" fmla="*/ 6865146 h 6865146"/>
              <a:gd name="connsiteX6" fmla="*/ 74489 w 4211311"/>
              <a:gd name="connsiteY6" fmla="*/ 6396925 h 6865146"/>
              <a:gd name="connsiteX7" fmla="*/ 2281448 w 4211311"/>
              <a:gd name="connsiteY7" fmla="*/ 158486 h 6865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1311" h="6865146">
                <a:moveTo>
                  <a:pt x="2374303" y="0"/>
                </a:moveTo>
                <a:lnTo>
                  <a:pt x="4211311" y="0"/>
                </a:lnTo>
                <a:lnTo>
                  <a:pt x="4200064" y="14300"/>
                </a:lnTo>
                <a:cubicBezTo>
                  <a:pt x="2678754" y="2011311"/>
                  <a:pt x="1552191" y="4332399"/>
                  <a:pt x="946330" y="6855705"/>
                </a:cubicBezTo>
                <a:lnTo>
                  <a:pt x="944205" y="6865146"/>
                </a:lnTo>
                <a:lnTo>
                  <a:pt x="0" y="6865146"/>
                </a:lnTo>
                <a:lnTo>
                  <a:pt x="74489" y="6396925"/>
                </a:lnTo>
                <a:cubicBezTo>
                  <a:pt x="458537" y="4161124"/>
                  <a:pt x="1217152" y="2057785"/>
                  <a:pt x="2281448" y="158486"/>
                </a:cubicBezTo>
                <a:close/>
              </a:path>
            </a:pathLst>
          </a:custGeom>
          <a:solidFill>
            <a:schemeClr val="accent3">
              <a:alpha val="9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73C0CCE-12FE-47F8-A8E0-89A8487C2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81103"/>
            <a:ext cx="6817489" cy="747897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54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8A7C64C-CF20-481E-AF8E-309F7554E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0456"/>
            <a:ext cx="6175094" cy="882050"/>
          </a:xfr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单击此处添加小标题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9147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5" grpId="0" animBg="1"/>
      <p:bldP spid="13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E79295E-C0E9-424C-830D-647530747C2D}"/>
              </a:ext>
            </a:extLst>
          </p:cNvPr>
          <p:cNvSpPr/>
          <p:nvPr userDrawn="1"/>
        </p:nvSpPr>
        <p:spPr>
          <a:xfrm>
            <a:off x="0" y="2"/>
            <a:ext cx="10119686" cy="6865148"/>
          </a:xfrm>
          <a:custGeom>
            <a:avLst/>
            <a:gdLst>
              <a:gd name="connsiteX0" fmla="*/ 0 w 10119686"/>
              <a:gd name="connsiteY0" fmla="*/ 0 h 6865148"/>
              <a:gd name="connsiteX1" fmla="*/ 5820758 w 10119686"/>
              <a:gd name="connsiteY1" fmla="*/ 0 h 6865148"/>
              <a:gd name="connsiteX2" fmla="*/ 6053997 w 10119686"/>
              <a:gd name="connsiteY2" fmla="*/ 165860 h 6865148"/>
              <a:gd name="connsiteX3" fmla="*/ 10043964 w 10119686"/>
              <a:gd name="connsiteY3" fmla="*/ 6441129 h 6865148"/>
              <a:gd name="connsiteX4" fmla="*/ 10119686 w 10119686"/>
              <a:gd name="connsiteY4" fmla="*/ 6865148 h 6865148"/>
              <a:gd name="connsiteX5" fmla="*/ 0 w 10119686"/>
              <a:gd name="connsiteY5" fmla="*/ 6865148 h 6865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19686" h="6865148">
                <a:moveTo>
                  <a:pt x="0" y="0"/>
                </a:moveTo>
                <a:lnTo>
                  <a:pt x="5820758" y="0"/>
                </a:lnTo>
                <a:lnTo>
                  <a:pt x="6053997" y="165860"/>
                </a:lnTo>
                <a:cubicBezTo>
                  <a:pt x="8068095" y="1672112"/>
                  <a:pt x="9521339" y="3887125"/>
                  <a:pt x="10043964" y="6441129"/>
                </a:cubicBezTo>
                <a:lnTo>
                  <a:pt x="10119686" y="6865148"/>
                </a:lnTo>
                <a:lnTo>
                  <a:pt x="0" y="686514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D36D81C-ACEC-49A8-A1F7-DB36681C5BBE}"/>
              </a:ext>
            </a:extLst>
          </p:cNvPr>
          <p:cNvSpPr/>
          <p:nvPr userDrawn="1"/>
        </p:nvSpPr>
        <p:spPr>
          <a:xfrm>
            <a:off x="7171690" y="164384"/>
            <a:ext cx="5020311" cy="6693614"/>
          </a:xfrm>
          <a:custGeom>
            <a:avLst/>
            <a:gdLst>
              <a:gd name="connsiteX0" fmla="*/ 5020311 w 5020311"/>
              <a:gd name="connsiteY0" fmla="*/ 0 h 6693614"/>
              <a:gd name="connsiteX1" fmla="*/ 5020311 w 5020311"/>
              <a:gd name="connsiteY1" fmla="*/ 2129048 h 6693614"/>
              <a:gd name="connsiteX2" fmla="*/ 4951067 w 5020311"/>
              <a:gd name="connsiteY2" fmla="*/ 2179662 h 6693614"/>
              <a:gd name="connsiteX3" fmla="*/ 1060827 w 5020311"/>
              <a:gd name="connsiteY3" fmla="*/ 6482746 h 6693614"/>
              <a:gd name="connsiteX4" fmla="*/ 932028 w 5020311"/>
              <a:gd name="connsiteY4" fmla="*/ 6693614 h 6693614"/>
              <a:gd name="connsiteX5" fmla="*/ 0 w 5020311"/>
              <a:gd name="connsiteY5" fmla="*/ 6693614 h 6693614"/>
              <a:gd name="connsiteX6" fmla="*/ 8504 w 5020311"/>
              <a:gd name="connsiteY6" fmla="*/ 6672867 h 6693614"/>
              <a:gd name="connsiteX7" fmla="*/ 4974421 w 5020311"/>
              <a:gd name="connsiteY7" fmla="*/ 35071 h 669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0311" h="6693614">
                <a:moveTo>
                  <a:pt x="5020311" y="0"/>
                </a:moveTo>
                <a:lnTo>
                  <a:pt x="5020311" y="2129048"/>
                </a:lnTo>
                <a:lnTo>
                  <a:pt x="4951067" y="2179662"/>
                </a:lnTo>
                <a:cubicBezTo>
                  <a:pt x="3413308" y="3382509"/>
                  <a:pt x="2093731" y="4838706"/>
                  <a:pt x="1060827" y="6482746"/>
                </a:cubicBezTo>
                <a:lnTo>
                  <a:pt x="932028" y="6693614"/>
                </a:lnTo>
                <a:lnTo>
                  <a:pt x="0" y="6693614"/>
                </a:lnTo>
                <a:lnTo>
                  <a:pt x="8504" y="6672867"/>
                </a:lnTo>
                <a:cubicBezTo>
                  <a:pt x="1126183" y="4065954"/>
                  <a:pt x="2841588" y="1792610"/>
                  <a:pt x="4974421" y="35071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E208027-352A-4FC3-8BA1-68329082CA71}"/>
              </a:ext>
            </a:extLst>
          </p:cNvPr>
          <p:cNvSpPr/>
          <p:nvPr userDrawn="1"/>
        </p:nvSpPr>
        <p:spPr>
          <a:xfrm>
            <a:off x="7031651" y="0"/>
            <a:ext cx="4211311" cy="6865146"/>
          </a:xfrm>
          <a:custGeom>
            <a:avLst/>
            <a:gdLst>
              <a:gd name="connsiteX0" fmla="*/ 2374303 w 4211311"/>
              <a:gd name="connsiteY0" fmla="*/ 0 h 6865146"/>
              <a:gd name="connsiteX1" fmla="*/ 4211311 w 4211311"/>
              <a:gd name="connsiteY1" fmla="*/ 0 h 6865146"/>
              <a:gd name="connsiteX2" fmla="*/ 4200064 w 4211311"/>
              <a:gd name="connsiteY2" fmla="*/ 14300 h 6865146"/>
              <a:gd name="connsiteX3" fmla="*/ 946330 w 4211311"/>
              <a:gd name="connsiteY3" fmla="*/ 6855705 h 6865146"/>
              <a:gd name="connsiteX4" fmla="*/ 944205 w 4211311"/>
              <a:gd name="connsiteY4" fmla="*/ 6865146 h 6865146"/>
              <a:gd name="connsiteX5" fmla="*/ 0 w 4211311"/>
              <a:gd name="connsiteY5" fmla="*/ 6865146 h 6865146"/>
              <a:gd name="connsiteX6" fmla="*/ 74489 w 4211311"/>
              <a:gd name="connsiteY6" fmla="*/ 6396925 h 6865146"/>
              <a:gd name="connsiteX7" fmla="*/ 2281448 w 4211311"/>
              <a:gd name="connsiteY7" fmla="*/ 158486 h 6865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1311" h="6865146">
                <a:moveTo>
                  <a:pt x="2374303" y="0"/>
                </a:moveTo>
                <a:lnTo>
                  <a:pt x="4211311" y="0"/>
                </a:lnTo>
                <a:lnTo>
                  <a:pt x="4200064" y="14300"/>
                </a:lnTo>
                <a:cubicBezTo>
                  <a:pt x="2678754" y="2011311"/>
                  <a:pt x="1552191" y="4332399"/>
                  <a:pt x="946330" y="6855705"/>
                </a:cubicBezTo>
                <a:lnTo>
                  <a:pt x="944205" y="6865146"/>
                </a:lnTo>
                <a:lnTo>
                  <a:pt x="0" y="6865146"/>
                </a:lnTo>
                <a:lnTo>
                  <a:pt x="74489" y="6396925"/>
                </a:lnTo>
                <a:cubicBezTo>
                  <a:pt x="458537" y="4161124"/>
                  <a:pt x="1217152" y="2057785"/>
                  <a:pt x="2281448" y="158486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73C0CCE-12FE-47F8-A8E0-89A8487C2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681103"/>
            <a:ext cx="7002684" cy="747897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5400" b="1" cap="all" baseline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 dirty="0"/>
              <a:t>单击添加标题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88A7C64C-CF20-481E-AF8E-309F7554E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20456"/>
            <a:ext cx="6175094" cy="882050"/>
          </a:xfr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单击此处添加小标题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0730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5" grpId="0" animBg="1"/>
      <p:bldP spid="13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35E550B-7430-4642-BA0D-C54AAF505D7D}"/>
              </a:ext>
            </a:extLst>
          </p:cNvPr>
          <p:cNvSpPr/>
          <p:nvPr userDrawn="1"/>
        </p:nvSpPr>
        <p:spPr>
          <a:xfrm>
            <a:off x="1737360" y="1323340"/>
            <a:ext cx="8503920" cy="4211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7200" dirty="0">
                <a:solidFill>
                  <a:prstClr val="white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在此警告出现的任何布局版式都是有问题的，需要被删除。</a:t>
            </a:r>
            <a:endParaRPr lang="en-US" sz="7200" dirty="0">
              <a:solidFill>
                <a:prstClr val="white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9125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414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158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802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/picture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5354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2" grpId="0"/>
      <p:bldP spid="25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173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28">
            <a:extLst>
              <a:ext uri="{FF2B5EF4-FFF2-40B4-BE49-F238E27FC236}">
                <a16:creationId xmlns:a16="http://schemas.microsoft.com/office/drawing/2014/main" id="{3A711E22-D189-406B-B781-7776E2F3641A}"/>
              </a:ext>
            </a:extLst>
          </p:cNvPr>
          <p:cNvSpPr/>
          <p:nvPr userDrawn="1"/>
        </p:nvSpPr>
        <p:spPr>
          <a:xfrm>
            <a:off x="0" y="0"/>
            <a:ext cx="9253094" cy="6858000"/>
          </a:xfrm>
          <a:custGeom>
            <a:avLst/>
            <a:gdLst>
              <a:gd name="connsiteX0" fmla="*/ 6729506 w 6729505"/>
              <a:gd name="connsiteY0" fmla="*/ 0 h 4987623"/>
              <a:gd name="connsiteX1" fmla="*/ 0 w 6729505"/>
              <a:gd name="connsiteY1" fmla="*/ 0 h 4987623"/>
              <a:gd name="connsiteX2" fmla="*/ 0 w 6729505"/>
              <a:gd name="connsiteY2" fmla="*/ 4987624 h 4987623"/>
              <a:gd name="connsiteX3" fmla="*/ 3213285 w 6729505"/>
              <a:gd name="connsiteY3" fmla="*/ 4987624 h 4987623"/>
              <a:gd name="connsiteX4" fmla="*/ 6729506 w 6729505"/>
              <a:gd name="connsiteY4" fmla="*/ 0 h 4987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9505" h="4987623">
                <a:moveTo>
                  <a:pt x="6729506" y="0"/>
                </a:moveTo>
                <a:lnTo>
                  <a:pt x="0" y="0"/>
                </a:lnTo>
                <a:lnTo>
                  <a:pt x="0" y="4987624"/>
                </a:lnTo>
                <a:lnTo>
                  <a:pt x="3213285" y="4987624"/>
                </a:lnTo>
                <a:cubicBezTo>
                  <a:pt x="3213285" y="4987624"/>
                  <a:pt x="3857024" y="2028589"/>
                  <a:pt x="6729506" y="0"/>
                </a:cubicBezTo>
                <a:close/>
              </a:path>
            </a:pathLst>
          </a:custGeom>
          <a:solidFill>
            <a:schemeClr val="accent2"/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sp>
        <p:nvSpPr>
          <p:cNvPr id="9" name="Freeform: Shape 29">
            <a:extLst>
              <a:ext uri="{FF2B5EF4-FFF2-40B4-BE49-F238E27FC236}">
                <a16:creationId xmlns:a16="http://schemas.microsoft.com/office/drawing/2014/main" id="{3D56E52A-59EC-4617-B5B7-0060DBE643A9}"/>
              </a:ext>
            </a:extLst>
          </p:cNvPr>
          <p:cNvSpPr/>
          <p:nvPr userDrawn="1"/>
        </p:nvSpPr>
        <p:spPr>
          <a:xfrm>
            <a:off x="0" y="4297681"/>
            <a:ext cx="12192000" cy="2560320"/>
          </a:xfrm>
          <a:custGeom>
            <a:avLst/>
            <a:gdLst>
              <a:gd name="connsiteX0" fmla="*/ 0 w 8655312"/>
              <a:gd name="connsiteY0" fmla="*/ 207590 h 2155035"/>
              <a:gd name="connsiteX1" fmla="*/ 0 w 8655312"/>
              <a:gd name="connsiteY1" fmla="*/ 2155035 h 2155035"/>
              <a:gd name="connsiteX2" fmla="*/ 8655313 w 8655312"/>
              <a:gd name="connsiteY2" fmla="*/ 2155035 h 2155035"/>
              <a:gd name="connsiteX3" fmla="*/ 8655313 w 8655312"/>
              <a:gd name="connsiteY3" fmla="*/ 1589735 h 2155035"/>
              <a:gd name="connsiteX4" fmla="*/ 0 w 8655312"/>
              <a:gd name="connsiteY4" fmla="*/ 207590 h 215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5312" h="2155035">
                <a:moveTo>
                  <a:pt x="0" y="207590"/>
                </a:moveTo>
                <a:lnTo>
                  <a:pt x="0" y="2155035"/>
                </a:lnTo>
                <a:lnTo>
                  <a:pt x="8655313" y="2155035"/>
                </a:lnTo>
                <a:lnTo>
                  <a:pt x="8655313" y="1589735"/>
                </a:lnTo>
                <a:cubicBezTo>
                  <a:pt x="8655313" y="1589735"/>
                  <a:pt x="5185074" y="-684989"/>
                  <a:pt x="0" y="207590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27034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rgbClr val="4C4C4C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35" y="4989421"/>
            <a:ext cx="2807642" cy="1008354"/>
          </a:xfrm>
          <a:prstGeom prst="rect">
            <a:avLst/>
          </a:prstGeom>
        </p:spPr>
      </p:pic>
      <p:sp>
        <p:nvSpPr>
          <p:cNvPr id="7" name="Title 21">
            <a:extLst>
              <a:ext uri="{FF2B5EF4-FFF2-40B4-BE49-F238E27FC236}">
                <a16:creationId xmlns:a16="http://schemas.microsoft.com/office/drawing/2014/main" id="{4F807940-DB04-4D4B-A276-75D8EA985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442" y="929641"/>
            <a:ext cx="5901878" cy="1852788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4800" b="1" cap="all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en-GB" dirty="0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BBB76840-110A-4663-953A-E2B1D88397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441" y="2951163"/>
            <a:ext cx="5046708" cy="862011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0558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/>
      <p:bldP spid="13" grpId="0" build="p">
        <p:tmplLst>
          <p:tmpl lvl="1">
            <p:tnLst>
              <p:par>
                <p:cTn presetID="2" presetClass="entr" presetSubtype="8" decel="100000" fill="hold" nodeType="withEffect" nodePh="1">
                  <p:stCondLst>
                    <p:cond delay="1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9" name="think-cell 幻灯片" r:id="rId40" imgW="415" imgH="416" progId="TCLayout.ActiveDocument.1">
                  <p:embed/>
                </p:oleObj>
              </mc:Choice>
              <mc:Fallback>
                <p:oleObj name="think-cell 幻灯片" r:id="rId40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62BD6-9A8B-427E-BA9B-D40FC61DFC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70269" y="6431963"/>
            <a:ext cx="8257502" cy="264216"/>
          </a:xfrm>
          <a:prstGeom prst="rect">
            <a:avLst/>
          </a:prstGeom>
          <a:noFill/>
        </p:spPr>
        <p:txBody>
          <a:bodyPr vert="horz" lIns="0" tIns="0" rIns="0" bIns="0" rtlCol="0" anchor="t" anchorCtr="0"/>
          <a:lstStyle>
            <a:lvl1pPr>
              <a:defRPr lang="en-GB"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</a:pPr>
            <a:endParaRPr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3D5DB6-9191-43BC-979F-A2422CE76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9297"/>
            <a:ext cx="11277600" cy="757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467BFE-5C56-4C75-9BC0-6C8CF65E6B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19213"/>
            <a:ext cx="11277600" cy="4845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B0AAF-2C26-43B5-8AB4-577E24953E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47409" y="6431963"/>
            <a:ext cx="677334" cy="2642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fld id="{71DC3DCB-2371-40D2-8154-232EF12A1211}" type="slidenum">
              <a:rPr lang="en-GB" smtClean="0">
                <a:solidFill>
                  <a:srgbClr val="82BC00"/>
                </a:solidFill>
              </a:rPr>
              <a:pPr/>
              <a:t>‹#›</a:t>
            </a:fld>
            <a:endParaRPr lang="en-GB" dirty="0">
              <a:solidFill>
                <a:srgbClr val="82BC00"/>
              </a:solidFill>
            </a:endParaRPr>
          </a:p>
        </p:txBody>
      </p:sp>
    </p:spTree>
    <p:custDataLst>
      <p:tags r:id="rId38"/>
    </p:custDataLst>
    <p:extLst>
      <p:ext uri="{BB962C8B-B14F-4D97-AF65-F5344CB8AC3E}">
        <p14:creationId xmlns:p14="http://schemas.microsoft.com/office/powerpoint/2010/main" val="76672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楷体" panose="02010609060101010101" pitchFamily="49" charset="-122"/>
          <a:ea typeface="楷体" panose="02010609060101010101" pitchFamily="49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Tx/>
        <a:buNone/>
        <a:defRPr sz="1400" kern="1200">
          <a:solidFill>
            <a:schemeClr val="tx2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464847"/>
          </p15:clr>
        </p15:guide>
        <p15:guide id="2" orient="horz" pos="288">
          <p15:clr>
            <a:srgbClr val="464847"/>
          </p15:clr>
        </p15:guide>
        <p15:guide id="3">
          <p15:clr>
            <a:srgbClr val="464847"/>
          </p15:clr>
        </p15:guide>
        <p15:guide id="4" pos="7680">
          <p15:clr>
            <a:srgbClr val="464847"/>
          </p15:clr>
        </p15:guide>
        <p15:guide id="5" orient="horz" pos="4320">
          <p15:clr>
            <a:srgbClr val="464847"/>
          </p15:clr>
        </p15:guide>
        <p15:guide id="6" pos="288">
          <p15:clr>
            <a:srgbClr val="464847"/>
          </p15:clr>
        </p15:guide>
        <p15:guide id="7" pos="7392">
          <p15:clr>
            <a:srgbClr val="464847"/>
          </p15:clr>
        </p15:guide>
        <p15:guide id="8" orient="horz" pos="832">
          <p15:clr>
            <a:srgbClr val="464847"/>
          </p15:clr>
        </p15:guide>
        <p15:guide id="9" orient="horz" pos="3884">
          <p15:clr>
            <a:srgbClr val="464847"/>
          </p15:clr>
        </p15:guide>
        <p15:guide id="10" pos="1403">
          <p15:clr>
            <a:srgbClr val="464847"/>
          </p15:clr>
        </p15:guide>
        <p15:guide id="11" pos="1485">
          <p15:clr>
            <a:srgbClr val="464847"/>
          </p15:clr>
        </p15:guide>
        <p15:guide id="12" pos="2601">
          <p15:clr>
            <a:srgbClr val="464847"/>
          </p15:clr>
        </p15:guide>
        <p15:guide id="13" pos="2683">
          <p15:clr>
            <a:srgbClr val="464847"/>
          </p15:clr>
        </p15:guide>
        <p15:guide id="14" pos="3799">
          <p15:clr>
            <a:srgbClr val="464847"/>
          </p15:clr>
        </p15:guide>
        <p15:guide id="15" pos="3880">
          <p15:clr>
            <a:srgbClr val="464847"/>
          </p15:clr>
        </p15:guide>
        <p15:guide id="16" pos="4996">
          <p15:clr>
            <a:srgbClr val="464847"/>
          </p15:clr>
        </p15:guide>
        <p15:guide id="17" pos="5078">
          <p15:clr>
            <a:srgbClr val="464847"/>
          </p15:clr>
        </p15:guide>
        <p15:guide id="18" pos="6194">
          <p15:clr>
            <a:srgbClr val="464847"/>
          </p15:clr>
        </p15:guide>
        <p15:guide id="19" pos="6276">
          <p15:clr>
            <a:srgbClr val="464847"/>
          </p15:clr>
        </p15:guide>
        <p15:guide id="20" orient="horz" pos="1881">
          <p15:clr>
            <a:srgbClr val="464847"/>
          </p15:clr>
        </p15:guide>
        <p15:guide id="21" orient="horz" pos="1944">
          <p15:clr>
            <a:srgbClr val="464847"/>
          </p15:clr>
        </p15:guide>
        <p15:guide id="22" orient="horz" pos="2918">
          <p15:clr>
            <a:srgbClr val="464847"/>
          </p15:clr>
        </p15:guide>
        <p15:guide id="23" orient="horz" pos="2981">
          <p15:clr>
            <a:srgbClr val="464847"/>
          </p15:clr>
        </p15:guide>
        <p15:guide id="24" orient="horz" pos="1071">
          <p15:clr>
            <a:srgbClr val="464847"/>
          </p15:clr>
        </p15:guide>
        <p15:guide id="25" orient="horz" pos="1070">
          <p15:clr>
            <a:srgbClr val="464847"/>
          </p15:clr>
        </p15:guide>
        <p15:guide id="26" orient="horz" pos="2478">
          <p15:clr>
            <a:srgbClr val="464847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2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4.pn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3.jpg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3015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17" name="think-cell 幻灯片" r:id="rId4" imgW="639" imgH="639" progId="TCLayout.ActiveDocument.1">
                  <p:embed/>
                </p:oleObj>
              </mc:Choice>
              <mc:Fallback>
                <p:oleObj name="think-cell 幻灯片" r:id="rId4" imgW="639" imgH="63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441" y="545327"/>
            <a:ext cx="6237158" cy="1852788"/>
          </a:xfrm>
        </p:spPr>
        <p:txBody>
          <a:bodyPr vert="horz"/>
          <a:lstStyle/>
          <a:p>
            <a:pPr>
              <a:lnSpc>
                <a:spcPct val="150000"/>
              </a:lnSpc>
            </a:pPr>
            <a:r>
              <a:rPr lang="zh-CN" altLang="en-US" sz="3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华昌汽车运营需求</a:t>
            </a:r>
            <a:br>
              <a:rPr lang="en-US" altLang="zh-CN" sz="3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3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</a:t>
            </a:r>
            <a:endParaRPr lang="zh-CN" alt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170038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11485128" y="6179871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0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90C3633-CA64-4322-8A1C-C51EB349593D}"/>
              </a:ext>
            </a:extLst>
          </p:cNvPr>
          <p:cNvSpPr txBox="1"/>
          <p:nvPr/>
        </p:nvSpPr>
        <p:spPr>
          <a:xfrm>
            <a:off x="3261170" y="954934"/>
            <a:ext cx="5873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玻璃幕飘窗密封胶、飘窗四周安装硅胶、防寒封堵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9A02D6E-CDE5-4A89-AD02-AC3A625D7E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76" y="1463041"/>
            <a:ext cx="2650141" cy="3792354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EBA01760-574C-4414-8CF3-154E2AED213C}"/>
              </a:ext>
            </a:extLst>
          </p:cNvPr>
          <p:cNvSpPr txBox="1"/>
          <p:nvPr/>
        </p:nvSpPr>
        <p:spPr>
          <a:xfrm>
            <a:off x="700076" y="1469322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>
                <a:solidFill>
                  <a:srgbClr val="FF0000"/>
                </a:solidFill>
              </a:rPr>
              <a:t>一层南侧窗户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C83F9AC-5D9F-4174-B4D5-8E6E2414E4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89" y="1463041"/>
            <a:ext cx="2650183" cy="3792354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6D0A9884-01BE-4B20-8726-6C7D3E2CB5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144" y="1463042"/>
            <a:ext cx="2650183" cy="3792354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9E89496C-C048-4661-A175-9232B5A61A7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163" y="1463042"/>
            <a:ext cx="2650183" cy="3792354"/>
          </a:xfrm>
          <a:prstGeom prst="rect">
            <a:avLst/>
          </a:prstGeom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206166DA-599D-41A0-A4AC-2068242DBF02}"/>
              </a:ext>
            </a:extLst>
          </p:cNvPr>
          <p:cNvSpPr txBox="1"/>
          <p:nvPr/>
        </p:nvSpPr>
        <p:spPr>
          <a:xfrm>
            <a:off x="3547589" y="1469322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>
                <a:solidFill>
                  <a:srgbClr val="FF0000"/>
                </a:solidFill>
              </a:rPr>
              <a:t>二层南侧窗户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1D5987D3-2A97-41CC-9D39-EA797438D4BF}"/>
              </a:ext>
            </a:extLst>
          </p:cNvPr>
          <p:cNvSpPr txBox="1"/>
          <p:nvPr/>
        </p:nvSpPr>
        <p:spPr>
          <a:xfrm>
            <a:off x="6395144" y="1463041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南侧窗户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BC96F53-36F8-4803-8819-DA9F4F11E8F3}"/>
              </a:ext>
            </a:extLst>
          </p:cNvPr>
          <p:cNvSpPr txBox="1"/>
          <p:nvPr/>
        </p:nvSpPr>
        <p:spPr>
          <a:xfrm>
            <a:off x="9369350" y="1535612"/>
            <a:ext cx="6246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西侧窗户</a:t>
            </a:r>
          </a:p>
        </p:txBody>
      </p:sp>
    </p:spTree>
    <p:extLst>
      <p:ext uri="{BB962C8B-B14F-4D97-AF65-F5344CB8AC3E}">
        <p14:creationId xmlns:p14="http://schemas.microsoft.com/office/powerpoint/2010/main" val="23418579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11485128" y="6179871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1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90C3633-CA64-4322-8A1C-C51EB349593D}"/>
              </a:ext>
            </a:extLst>
          </p:cNvPr>
          <p:cNvSpPr txBox="1"/>
          <p:nvPr/>
        </p:nvSpPr>
        <p:spPr>
          <a:xfrm>
            <a:off x="5706950" y="979871"/>
            <a:ext cx="5873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顶面防寒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BA01760-574C-4414-8CF3-154E2AED213C}"/>
              </a:ext>
            </a:extLst>
          </p:cNvPr>
          <p:cNvSpPr txBox="1"/>
          <p:nvPr/>
        </p:nvSpPr>
        <p:spPr>
          <a:xfrm>
            <a:off x="700076" y="1469322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南侧总经理房间棚面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06166DA-599D-41A0-A4AC-2068242DBF02}"/>
              </a:ext>
            </a:extLst>
          </p:cNvPr>
          <p:cNvSpPr txBox="1"/>
          <p:nvPr/>
        </p:nvSpPr>
        <p:spPr>
          <a:xfrm>
            <a:off x="3883250" y="1457766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西侧棚面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1D5987D3-2A97-41CC-9D39-EA797438D4BF}"/>
              </a:ext>
            </a:extLst>
          </p:cNvPr>
          <p:cNvSpPr txBox="1"/>
          <p:nvPr/>
        </p:nvSpPr>
        <p:spPr>
          <a:xfrm>
            <a:off x="6395102" y="1424621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里侧房间棚面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BC96F53-36F8-4803-8819-DA9F4F11E8F3}"/>
              </a:ext>
            </a:extLst>
          </p:cNvPr>
          <p:cNvSpPr txBox="1"/>
          <p:nvPr/>
        </p:nvSpPr>
        <p:spPr>
          <a:xfrm>
            <a:off x="9369350" y="1535612"/>
            <a:ext cx="6246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挑空棚面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143BEF5-A4F9-4132-973A-9D764E762E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36" y="1814536"/>
            <a:ext cx="2534233" cy="353152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9B922221-C06A-41C7-B88F-7908C07AD1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541" y="1827098"/>
            <a:ext cx="2534233" cy="351896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5CFDB7F-837B-4453-AED5-77F1EEA5BF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146" y="1827098"/>
            <a:ext cx="2534233" cy="351896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D0564D1D-6198-4FB2-872F-D5F4452E42F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2751" y="1865798"/>
            <a:ext cx="2534233" cy="345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5064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2654409" y="2782153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2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90C3633-CA64-4322-8A1C-C51EB349593D}"/>
              </a:ext>
            </a:extLst>
          </p:cNvPr>
          <p:cNvSpPr txBox="1"/>
          <p:nvPr/>
        </p:nvSpPr>
        <p:spPr>
          <a:xfrm>
            <a:off x="5706950" y="979871"/>
            <a:ext cx="5873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门跟换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BA01760-574C-4414-8CF3-154E2AED213C}"/>
              </a:ext>
            </a:extLst>
          </p:cNvPr>
          <p:cNvSpPr txBox="1"/>
          <p:nvPr/>
        </p:nvSpPr>
        <p:spPr>
          <a:xfrm>
            <a:off x="2431563" y="1556993"/>
            <a:ext cx="31831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一层（</a:t>
            </a:r>
            <a:r>
              <a:rPr lang="en-US" altLang="zh-CN" dirty="0">
                <a:solidFill>
                  <a:srgbClr val="FF0000"/>
                </a:solidFill>
              </a:rPr>
              <a:t>3 </a:t>
            </a:r>
            <a:r>
              <a:rPr lang="zh-CN" altLang="en-US" dirty="0">
                <a:solidFill>
                  <a:srgbClr val="FF0000"/>
                </a:solidFill>
              </a:rPr>
              <a:t>含卫生间</a:t>
            </a:r>
            <a:r>
              <a:rPr lang="en-US" altLang="zh-CN" dirty="0">
                <a:solidFill>
                  <a:srgbClr val="FF0000"/>
                </a:solidFill>
              </a:rPr>
              <a:t>2</a:t>
            </a:r>
            <a:r>
              <a:rPr lang="zh-CN" altLang="en-US" dirty="0">
                <a:solidFill>
                  <a:srgbClr val="FF0000"/>
                </a:solidFill>
              </a:rPr>
              <a:t>趟门）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1D5987D3-2A97-41CC-9D39-EA797438D4BF}"/>
              </a:ext>
            </a:extLst>
          </p:cNvPr>
          <p:cNvSpPr txBox="1"/>
          <p:nvPr/>
        </p:nvSpPr>
        <p:spPr>
          <a:xfrm>
            <a:off x="8431796" y="1531358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（</a:t>
            </a:r>
            <a:r>
              <a:rPr lang="en-US" altLang="zh-CN" dirty="0">
                <a:solidFill>
                  <a:srgbClr val="FF0000"/>
                </a:solidFill>
              </a:rPr>
              <a:t>3</a:t>
            </a:r>
            <a:r>
              <a:rPr lang="zh-CN" altLang="en-US" dirty="0">
                <a:solidFill>
                  <a:srgbClr val="FF0000"/>
                </a:solidFill>
              </a:rPr>
              <a:t>趟门）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F4AF434-CCB8-4CCA-B582-ED08779301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383" y="1914957"/>
            <a:ext cx="5527308" cy="3983876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BCC776A-C0EF-4598-83F0-7CD244DD1D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73" y="1935661"/>
            <a:ext cx="5306728" cy="3942468"/>
          </a:xfrm>
          <a:prstGeom prst="rect">
            <a:avLst/>
          </a:prstGeom>
        </p:spPr>
      </p:pic>
      <p:sp>
        <p:nvSpPr>
          <p:cNvPr id="19" name="矩形 18">
            <a:extLst>
              <a:ext uri="{FF2B5EF4-FFF2-40B4-BE49-F238E27FC236}">
                <a16:creationId xmlns:a16="http://schemas.microsoft.com/office/drawing/2014/main" id="{269E8862-B543-4C40-964D-9B27F1CD6B37}"/>
              </a:ext>
            </a:extLst>
          </p:cNvPr>
          <p:cNvSpPr/>
          <p:nvPr/>
        </p:nvSpPr>
        <p:spPr>
          <a:xfrm>
            <a:off x="3838316" y="3429000"/>
            <a:ext cx="555826" cy="86311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02381B2-7552-470C-A14B-CF14AA0E0861}"/>
              </a:ext>
            </a:extLst>
          </p:cNvPr>
          <p:cNvSpPr/>
          <p:nvPr/>
        </p:nvSpPr>
        <p:spPr>
          <a:xfrm>
            <a:off x="6244267" y="4104925"/>
            <a:ext cx="896644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3EF2270-B363-4C05-8D97-13E374B2BC0C}"/>
              </a:ext>
            </a:extLst>
          </p:cNvPr>
          <p:cNvSpPr/>
          <p:nvPr/>
        </p:nvSpPr>
        <p:spPr>
          <a:xfrm>
            <a:off x="10250866" y="3963895"/>
            <a:ext cx="700005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3739B26-24F6-430B-BC25-108025B20BDD}"/>
              </a:ext>
            </a:extLst>
          </p:cNvPr>
          <p:cNvSpPr/>
          <p:nvPr/>
        </p:nvSpPr>
        <p:spPr>
          <a:xfrm>
            <a:off x="11092923" y="3963895"/>
            <a:ext cx="592146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141894D-1806-4B34-98DA-F928662083B8}"/>
              </a:ext>
            </a:extLst>
          </p:cNvPr>
          <p:cNvSpPr/>
          <p:nvPr/>
        </p:nvSpPr>
        <p:spPr>
          <a:xfrm>
            <a:off x="4837739" y="3428999"/>
            <a:ext cx="555826" cy="86311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759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BA01760-574C-4414-8CF3-154E2AED213C}"/>
              </a:ext>
            </a:extLst>
          </p:cNvPr>
          <p:cNvSpPr txBox="1"/>
          <p:nvPr/>
        </p:nvSpPr>
        <p:spPr>
          <a:xfrm>
            <a:off x="2312997" y="1209341"/>
            <a:ext cx="31831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卫生间翻新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66013BF-CD0D-4C4C-B4CD-45269B5678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496" y="1578673"/>
            <a:ext cx="5142496" cy="361896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44AFB20-B815-4DE4-9E1B-AAF1E482D6B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355" y="1578673"/>
            <a:ext cx="5142496" cy="3618969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325C4913-EC1A-4E51-B16B-F956A7E6E9B8}"/>
              </a:ext>
            </a:extLst>
          </p:cNvPr>
          <p:cNvSpPr txBox="1"/>
          <p:nvPr/>
        </p:nvSpPr>
        <p:spPr>
          <a:xfrm>
            <a:off x="7774806" y="1209341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楼梯刷油翻新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65D08B29-690C-444F-B519-E64800C21AF5}"/>
              </a:ext>
            </a:extLst>
          </p:cNvPr>
          <p:cNvSpPr txBox="1"/>
          <p:nvPr/>
        </p:nvSpPr>
        <p:spPr>
          <a:xfrm>
            <a:off x="437083" y="5279327"/>
            <a:ext cx="5142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sz="1800" u="none" strike="noStrike" dirty="0">
                <a:effectLst/>
              </a:rPr>
              <a:t>洗手台改造翻新，留电源插座；</a:t>
            </a:r>
            <a:br>
              <a:rPr lang="zh-CN" altLang="en-US" sz="1800" u="none" strike="noStrike" dirty="0">
                <a:effectLst/>
              </a:rPr>
            </a:br>
            <a:r>
              <a:rPr lang="zh-CN" altLang="en-US" sz="1800" u="none" strike="noStrike" dirty="0">
                <a:effectLst/>
              </a:rPr>
              <a:t>卫生间改造翻新，</a:t>
            </a:r>
            <a:r>
              <a:rPr lang="en-US" altLang="zh-CN" sz="1800" u="none" strike="noStrike" dirty="0">
                <a:effectLst/>
              </a:rPr>
              <a:t>1</a:t>
            </a:r>
            <a:r>
              <a:rPr lang="zh-CN" altLang="en-US" sz="1800" u="none" strike="noStrike" dirty="0">
                <a:effectLst/>
              </a:rPr>
              <a:t>男</a:t>
            </a:r>
            <a:r>
              <a:rPr lang="en-US" altLang="zh-CN" sz="1800" u="none" strike="noStrike" dirty="0">
                <a:effectLst/>
              </a:rPr>
              <a:t>2</a:t>
            </a:r>
            <a:r>
              <a:rPr lang="zh-CN" altLang="en-US" sz="1800" u="none" strike="noStrike" dirty="0">
                <a:effectLst/>
              </a:rPr>
              <a:t>女，留排风扇，男卫生间留电源插座</a:t>
            </a:r>
            <a:endParaRPr lang="zh-CN" altLang="en-US" sz="1800" b="0" i="0" u="none" strike="noStrike" dirty="0"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7893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BA01760-574C-4414-8CF3-154E2AED213C}"/>
              </a:ext>
            </a:extLst>
          </p:cNvPr>
          <p:cNvSpPr txBox="1"/>
          <p:nvPr/>
        </p:nvSpPr>
        <p:spPr>
          <a:xfrm>
            <a:off x="558862" y="1215589"/>
            <a:ext cx="53968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墙面、顶面翻新、地面瓷砖（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浅灰色花纹瓷砖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325C4913-EC1A-4E51-B16B-F956A7E6E9B8}"/>
              </a:ext>
            </a:extLst>
          </p:cNvPr>
          <p:cNvSpPr txBox="1"/>
          <p:nvPr/>
        </p:nvSpPr>
        <p:spPr>
          <a:xfrm>
            <a:off x="7794056" y="1180225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增加立式空调</a:t>
            </a:r>
            <a:r>
              <a:rPr lang="en-US" altLang="zh-CN" dirty="0">
                <a:solidFill>
                  <a:srgbClr val="FF0000"/>
                </a:solidFill>
              </a:rPr>
              <a:t>2</a:t>
            </a:r>
            <a:r>
              <a:rPr lang="zh-CN" altLang="en-US" dirty="0">
                <a:solidFill>
                  <a:srgbClr val="FF0000"/>
                </a:solidFill>
              </a:rPr>
              <a:t>个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FC50AA8-B881-43A1-8BED-4BC4E136B9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97" y="1665300"/>
            <a:ext cx="4573792" cy="207905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01D3EBD-F1DC-4CCD-AF67-F613EF82E7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98" y="3936733"/>
            <a:ext cx="4573792" cy="219456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43FE5A69-5C94-4E82-9C29-D582E508FC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807" y="3936734"/>
            <a:ext cx="4466124" cy="2194560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2325A6E4-774F-4915-90E6-78E8B700D94D}"/>
              </a:ext>
            </a:extLst>
          </p:cNvPr>
          <p:cNvSpPr txBox="1"/>
          <p:nvPr/>
        </p:nvSpPr>
        <p:spPr>
          <a:xfrm>
            <a:off x="6708807" y="3936733"/>
            <a:ext cx="69446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一层（隔断内办公区）</a:t>
            </a:r>
            <a:endParaRPr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411C76A2-CFCE-4A23-855B-ACCE2A2C0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0475" y="1665300"/>
            <a:ext cx="4573792" cy="2079058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D3070F64-BB27-421E-A42A-1461725D3AF0}"/>
              </a:ext>
            </a:extLst>
          </p:cNvPr>
          <p:cNvSpPr txBox="1"/>
          <p:nvPr/>
        </p:nvSpPr>
        <p:spPr>
          <a:xfrm>
            <a:off x="6708807" y="1803885"/>
            <a:ext cx="69446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二层（总经理办公室） </a:t>
            </a:r>
            <a:endParaRPr lang="en-US" altLang="zh-C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751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6B18C39-CCDE-454C-9D6D-D180299A4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87" y="1106487"/>
            <a:ext cx="3868635" cy="517890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D27B9A6-EEBA-413D-99E6-7007394E62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8226" y="1106487"/>
            <a:ext cx="3868634" cy="517890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80BFD3E-0F50-40B9-80FB-2FDA4FB0FC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3816" y="1106487"/>
            <a:ext cx="3475784" cy="2924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7072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6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2972A6C0-7F3E-4DAC-A432-93A268BB5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905"/>
            <a:ext cx="11493500" cy="738664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A121C23F-09D9-49EC-BC80-FDC8110972E9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BB3E841-F3B4-409F-8E8F-74E70D107B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44" y="1202267"/>
            <a:ext cx="5356524" cy="5040758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0746EE47-287F-4F56-8FBF-7F634BA46B98}"/>
              </a:ext>
            </a:extLst>
          </p:cNvPr>
          <p:cNvSpPr txBox="1"/>
          <p:nvPr/>
        </p:nvSpPr>
        <p:spPr>
          <a:xfrm>
            <a:off x="540406" y="614975"/>
            <a:ext cx="1156268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新建功能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卫生间、活动室、展示厅、对标室、休息室、餐厅、功能间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4D9F900-24BF-4401-BB3A-C271B42880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748" y="1193800"/>
            <a:ext cx="5217439" cy="504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7250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7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2972A6C0-7F3E-4DAC-A432-93A268BB5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905"/>
            <a:ext cx="11493500" cy="738664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A121C23F-09D9-49EC-BC80-FDC8110972E9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ED8E53-5D01-462E-A3B6-C1B978180E66}"/>
              </a:ext>
            </a:extLst>
          </p:cNvPr>
          <p:cNvSpPr txBox="1"/>
          <p:nvPr/>
        </p:nvSpPr>
        <p:spPr>
          <a:xfrm>
            <a:off x="540405" y="614975"/>
            <a:ext cx="119531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新建功能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灯片编号占位符 7">
            <a:extLst>
              <a:ext uri="{FF2B5EF4-FFF2-40B4-BE49-F238E27FC236}">
                <a16:creationId xmlns:a16="http://schemas.microsoft.com/office/drawing/2014/main" id="{FC1190A1-A1A9-4E62-89ED-80D4FBD2C81E}"/>
              </a:ext>
            </a:extLst>
          </p:cNvPr>
          <p:cNvSpPr txBox="1">
            <a:spLocks/>
          </p:cNvSpPr>
          <p:nvPr/>
        </p:nvSpPr>
        <p:spPr>
          <a:xfrm>
            <a:off x="4977024" y="6693027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7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448591A6-5D0D-4220-A259-C48AD9B49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949" y="1088878"/>
            <a:ext cx="4002724" cy="5018838"/>
          </a:xfrm>
          <a:prstGeom prst="rect">
            <a:avLst/>
          </a:prstGeom>
        </p:spPr>
      </p:pic>
      <p:sp>
        <p:nvSpPr>
          <p:cNvPr id="13" name="线形标注 1(带边框和强调线) 26">
            <a:extLst>
              <a:ext uri="{FF2B5EF4-FFF2-40B4-BE49-F238E27FC236}">
                <a16:creationId xmlns:a16="http://schemas.microsoft.com/office/drawing/2014/main" id="{C06A807E-0230-4BC0-B173-3581589098CB}"/>
              </a:ext>
            </a:extLst>
          </p:cNvPr>
          <p:cNvSpPr/>
          <p:nvPr/>
        </p:nvSpPr>
        <p:spPr>
          <a:xfrm>
            <a:off x="4491730" y="5020546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134642"/>
              <a:gd name="adj4" fmla="val -105049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原办公区改造</a:t>
            </a:r>
            <a:endParaRPr lang="en-US" altLang="zh-CN" sz="8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线形标注 1(带边框和强调线) 26">
            <a:extLst>
              <a:ext uri="{FF2B5EF4-FFF2-40B4-BE49-F238E27FC236}">
                <a16:creationId xmlns:a16="http://schemas.microsoft.com/office/drawing/2014/main" id="{5164FD7F-FC2C-47D9-A135-B8DAEB1264FB}"/>
              </a:ext>
            </a:extLst>
          </p:cNvPr>
          <p:cNvSpPr/>
          <p:nvPr/>
        </p:nvSpPr>
        <p:spPr>
          <a:xfrm>
            <a:off x="4491730" y="2665253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122569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间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线形标注 1(带边框和强调线) 26">
            <a:extLst>
              <a:ext uri="{FF2B5EF4-FFF2-40B4-BE49-F238E27FC236}">
                <a16:creationId xmlns:a16="http://schemas.microsoft.com/office/drawing/2014/main" id="{8E28C97C-D9ED-4672-9AC4-27CD7D5EF1F2}"/>
              </a:ext>
            </a:extLst>
          </p:cNvPr>
          <p:cNvSpPr/>
          <p:nvPr/>
        </p:nvSpPr>
        <p:spPr>
          <a:xfrm>
            <a:off x="4491730" y="3027271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97485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表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线形标注 1(带边框和强调线) 26">
            <a:extLst>
              <a:ext uri="{FF2B5EF4-FFF2-40B4-BE49-F238E27FC236}">
                <a16:creationId xmlns:a16="http://schemas.microsoft.com/office/drawing/2014/main" id="{E43F1214-EB47-4A51-9713-0BB68ED2DCE4}"/>
              </a:ext>
            </a:extLst>
          </p:cNvPr>
          <p:cNvSpPr/>
          <p:nvPr/>
        </p:nvSpPr>
        <p:spPr>
          <a:xfrm>
            <a:off x="4491730" y="3348065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休息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线形标注 1(带边框和强调线) 26">
            <a:extLst>
              <a:ext uri="{FF2B5EF4-FFF2-40B4-BE49-F238E27FC236}">
                <a16:creationId xmlns:a16="http://schemas.microsoft.com/office/drawing/2014/main" id="{A0740B44-75C2-4AB7-9F25-9E61D33FE84B}"/>
              </a:ext>
            </a:extLst>
          </p:cNvPr>
          <p:cNvSpPr/>
          <p:nvPr/>
        </p:nvSpPr>
        <p:spPr>
          <a:xfrm>
            <a:off x="4491730" y="3703148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餐厅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线形标注 1(带边框和强调线) 26">
            <a:extLst>
              <a:ext uri="{FF2B5EF4-FFF2-40B4-BE49-F238E27FC236}">
                <a16:creationId xmlns:a16="http://schemas.microsoft.com/office/drawing/2014/main" id="{45DDE430-DAD7-4C6E-BAC5-2A43FA33E06B}"/>
              </a:ext>
            </a:extLst>
          </p:cNvPr>
          <p:cNvSpPr/>
          <p:nvPr/>
        </p:nvSpPr>
        <p:spPr>
          <a:xfrm>
            <a:off x="4491730" y="4005084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厅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线形标注 1(带边框和强调线) 26">
            <a:extLst>
              <a:ext uri="{FF2B5EF4-FFF2-40B4-BE49-F238E27FC236}">
                <a16:creationId xmlns:a16="http://schemas.microsoft.com/office/drawing/2014/main" id="{28B72B6C-E21D-4494-9EE0-7443D3C67A59}"/>
              </a:ext>
            </a:extLst>
          </p:cNvPr>
          <p:cNvSpPr/>
          <p:nvPr/>
        </p:nvSpPr>
        <p:spPr>
          <a:xfrm>
            <a:off x="4491730" y="4310836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线形标注 1(带边框和强调线) 26">
            <a:extLst>
              <a:ext uri="{FF2B5EF4-FFF2-40B4-BE49-F238E27FC236}">
                <a16:creationId xmlns:a16="http://schemas.microsoft.com/office/drawing/2014/main" id="{6A09F1B5-5607-4D77-A446-73B258142E85}"/>
              </a:ext>
            </a:extLst>
          </p:cNvPr>
          <p:cNvSpPr/>
          <p:nvPr/>
        </p:nvSpPr>
        <p:spPr>
          <a:xfrm>
            <a:off x="4491730" y="4619122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线形标注 1(带边框和强调线) 26">
            <a:extLst>
              <a:ext uri="{FF2B5EF4-FFF2-40B4-BE49-F238E27FC236}">
                <a16:creationId xmlns:a16="http://schemas.microsoft.com/office/drawing/2014/main" id="{12EB764B-0C7D-48AE-B15E-1E0A76984F03}"/>
              </a:ext>
            </a:extLst>
          </p:cNvPr>
          <p:cNvSpPr/>
          <p:nvPr/>
        </p:nvSpPr>
        <p:spPr>
          <a:xfrm>
            <a:off x="4491729" y="1279185"/>
            <a:ext cx="939441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压机房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2" name="表格 21">
            <a:extLst>
              <a:ext uri="{FF2B5EF4-FFF2-40B4-BE49-F238E27FC236}">
                <a16:creationId xmlns:a16="http://schemas.microsoft.com/office/drawing/2014/main" id="{04B448E4-814D-45B1-812D-3F8A4F2E99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427975"/>
              </p:ext>
            </p:extLst>
          </p:nvPr>
        </p:nvGraphicFramePr>
        <p:xfrm>
          <a:off x="5588066" y="1639659"/>
          <a:ext cx="6208630" cy="3246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3039">
                  <a:extLst>
                    <a:ext uri="{9D8B030D-6E8A-4147-A177-3AD203B41FA5}">
                      <a16:colId xmlns:a16="http://schemas.microsoft.com/office/drawing/2014/main" val="3140388358"/>
                    </a:ext>
                  </a:extLst>
                </a:gridCol>
                <a:gridCol w="5345591">
                  <a:extLst>
                    <a:ext uri="{9D8B030D-6E8A-4147-A177-3AD203B41FA5}">
                      <a16:colId xmlns:a16="http://schemas.microsoft.com/office/drawing/2014/main" val="1270061411"/>
                    </a:ext>
                  </a:extLst>
                </a:gridCol>
              </a:tblGrid>
              <a:tr h="55115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卫生间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卫生间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男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女，</a:t>
                      </a:r>
                      <a:r>
                        <a:rPr lang="zh-CN" altLang="en-US" sz="1000" u="none" strike="noStrike" dirty="0">
                          <a:effectLst/>
                        </a:rPr>
                        <a:t>设排风扇，长条拖布池，洗手池；男卫生间留电源接口（我公司有热水器，管路布线热水直接洗手池）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3388961"/>
                  </a:ext>
                </a:extLst>
              </a:tr>
              <a:tr h="136101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台球室、产品展示区、对标室、休息室、餐厅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（整体铺地板）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办公区隔断采用轻钢龙骨加岩棉，正面采用铝合金型材做隔断封闭（单层玻璃磨砂），</a:t>
                      </a:r>
                      <a:r>
                        <a:rPr lang="zh-CN" altLang="en-US" sz="1000" u="none" strike="noStrike" dirty="0">
                          <a:effectLst/>
                        </a:rPr>
                        <a:t>顶面采用矿棉板吊顶、灯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每个隔断预留电源插座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，产品展示区要做射灯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小餐厅，留电视、音响、转桌插座（转桌需要地插）；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8108821"/>
                  </a:ext>
                </a:extLst>
              </a:tr>
              <a:tr h="44477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空压机房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隔音材质，排风扇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0032439"/>
                  </a:ext>
                </a:extLst>
              </a:tr>
              <a:tr h="44477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充电区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叉车充电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个，防爆电气，报警连锁、排风扇（待政策条件允许时施工）；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884468"/>
                  </a:ext>
                </a:extLst>
              </a:tr>
              <a:tr h="44477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桥架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配电室到充电区搭建</a:t>
                      </a:r>
                      <a:r>
                        <a:rPr lang="en-US" altLang="zh-CN" sz="1000" u="none" strike="noStrike" dirty="0">
                          <a:effectLst/>
                        </a:rPr>
                        <a:t>10</a:t>
                      </a:r>
                      <a:r>
                        <a:rPr lang="zh-CN" altLang="en-US" sz="1000" u="none" strike="noStrike" dirty="0">
                          <a:effectLst/>
                        </a:rPr>
                        <a:t>平方电线的桥架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60077"/>
                  </a:ext>
                </a:extLst>
              </a:tr>
            </a:tbl>
          </a:graphicData>
        </a:graphic>
      </p:graphicFrame>
      <p:pic>
        <p:nvPicPr>
          <p:cNvPr id="7" name="图片 6">
            <a:extLst>
              <a:ext uri="{FF2B5EF4-FFF2-40B4-BE49-F238E27FC236}">
                <a16:creationId xmlns:a16="http://schemas.microsoft.com/office/drawing/2014/main" id="{906B8485-9DF0-49C8-929C-533C48B07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1816" y="491492"/>
            <a:ext cx="1228725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25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2972A6C0-7F3E-4DAC-A432-93A268BB5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905"/>
            <a:ext cx="11493500" cy="738664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A121C23F-09D9-49EC-BC80-FDC8110972E9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ED8E53-5D01-462E-A3B6-C1B978180E66}"/>
              </a:ext>
            </a:extLst>
          </p:cNvPr>
          <p:cNvSpPr txBox="1"/>
          <p:nvPr/>
        </p:nvSpPr>
        <p:spPr>
          <a:xfrm>
            <a:off x="540405" y="614975"/>
            <a:ext cx="119531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新建功能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06B8485-9DF0-49C8-929C-533C48B07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1816" y="491492"/>
            <a:ext cx="1228725" cy="809625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08D69D0C-F446-4EF9-8CE2-0E79F6DBA298}"/>
              </a:ext>
            </a:extLst>
          </p:cNvPr>
          <p:cNvSpPr txBox="1"/>
          <p:nvPr/>
        </p:nvSpPr>
        <p:spPr>
          <a:xfrm>
            <a:off x="4239393" y="838401"/>
            <a:ext cx="6245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车间新增功能区域需设置防撞栏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E24CBC0-2D44-4A36-B4E6-7CAF49CB7F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601" y="1224152"/>
            <a:ext cx="4861796" cy="5018873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DB897AC-79C6-4567-B3BB-3B2F5075BBB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397" y="1373899"/>
            <a:ext cx="6174793" cy="4629281"/>
          </a:xfrm>
          <a:prstGeom prst="rect">
            <a:avLst/>
          </a:prstGeom>
        </p:spPr>
      </p:pic>
      <p:sp>
        <p:nvSpPr>
          <p:cNvPr id="26" name="矩形 25">
            <a:extLst>
              <a:ext uri="{FF2B5EF4-FFF2-40B4-BE49-F238E27FC236}">
                <a16:creationId xmlns:a16="http://schemas.microsoft.com/office/drawing/2014/main" id="{20F170FB-F3E3-473B-A708-EF3BB659797E}"/>
              </a:ext>
            </a:extLst>
          </p:cNvPr>
          <p:cNvSpPr/>
          <p:nvPr/>
        </p:nvSpPr>
        <p:spPr>
          <a:xfrm>
            <a:off x="8904303" y="4380133"/>
            <a:ext cx="1610122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84294B8-F9CE-4BBF-AD43-89A004E02AAA}"/>
              </a:ext>
            </a:extLst>
          </p:cNvPr>
          <p:cNvSpPr/>
          <p:nvPr/>
        </p:nvSpPr>
        <p:spPr>
          <a:xfrm>
            <a:off x="6446667" y="3325170"/>
            <a:ext cx="3380913" cy="696149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6674EC0-1B88-4857-9F1F-57776DBCCB7E}"/>
              </a:ext>
            </a:extLst>
          </p:cNvPr>
          <p:cNvSpPr txBox="1"/>
          <p:nvPr/>
        </p:nvSpPr>
        <p:spPr>
          <a:xfrm>
            <a:off x="4425824" y="6149920"/>
            <a:ext cx="6245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原防护栏拆除、移位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8B08EE62-4AD3-47F3-B1F3-C1FCB2BCE358}"/>
              </a:ext>
            </a:extLst>
          </p:cNvPr>
          <p:cNvSpPr/>
          <p:nvPr/>
        </p:nvSpPr>
        <p:spPr>
          <a:xfrm>
            <a:off x="3257215" y="1509797"/>
            <a:ext cx="853147" cy="696149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9DCFE51-1E85-4CA4-B42D-959C5D1E6F79}"/>
              </a:ext>
            </a:extLst>
          </p:cNvPr>
          <p:cNvSpPr/>
          <p:nvPr/>
        </p:nvSpPr>
        <p:spPr>
          <a:xfrm>
            <a:off x="3226213" y="2732851"/>
            <a:ext cx="853147" cy="2247522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195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9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2972A6C0-7F3E-4DAC-A432-93A268BB5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905"/>
            <a:ext cx="11493500" cy="738664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A121C23F-09D9-49EC-BC80-FDC8110972E9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AED8E53-5D01-462E-A3B6-C1B978180E66}"/>
              </a:ext>
            </a:extLst>
          </p:cNvPr>
          <p:cNvSpPr txBox="1"/>
          <p:nvPr/>
        </p:nvSpPr>
        <p:spPr>
          <a:xfrm>
            <a:off x="540405" y="614975"/>
            <a:ext cx="119531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新建功能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灯片编号占位符 7">
            <a:extLst>
              <a:ext uri="{FF2B5EF4-FFF2-40B4-BE49-F238E27FC236}">
                <a16:creationId xmlns:a16="http://schemas.microsoft.com/office/drawing/2014/main" id="{FC1190A1-A1A9-4E62-89ED-80D4FBD2C81E}"/>
              </a:ext>
            </a:extLst>
          </p:cNvPr>
          <p:cNvSpPr txBox="1">
            <a:spLocks/>
          </p:cNvSpPr>
          <p:nvPr/>
        </p:nvSpPr>
        <p:spPr>
          <a:xfrm>
            <a:off x="4977024" y="6693027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19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9D607D4B-CCF9-4C0D-AFAF-34124AEFB8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236" y="1126625"/>
            <a:ext cx="4199948" cy="4880476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A42ED75B-C503-4152-8F39-729D368CD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1321" y="1126624"/>
            <a:ext cx="3625579" cy="4880477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7ADC7072-399B-41CC-B368-D984A4FEA1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21700" y="1088878"/>
            <a:ext cx="3127057" cy="472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132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18" name="Title 9">
            <a:extLst>
              <a:ext uri="{FF2B5EF4-FFF2-40B4-BE49-F238E27FC236}">
                <a16:creationId xmlns:a16="http://schemas.microsoft.com/office/drawing/2014/main" id="{E08696A8-1322-4674-8565-E40008D58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8478" y="734984"/>
            <a:ext cx="7851896" cy="5605214"/>
          </a:xfrm>
        </p:spPr>
        <p:txBody>
          <a:bodyPr/>
          <a:lstStyle/>
          <a:p>
            <a:pPr lvl="0" algn="l">
              <a:lnSpc>
                <a:spcPct val="300000"/>
              </a:lnSpc>
              <a:spcBef>
                <a:spcPts val="0"/>
              </a:spcBef>
              <a:defRPr/>
            </a:pPr>
            <a:r>
              <a:rPr lang="zh-CN" altLang="en-US" sz="3200" dirty="0">
                <a:solidFill>
                  <a:srgbClr val="006647"/>
                </a:solidFill>
                <a:ea typeface="思源黑体" panose="020B0400000000000000" pitchFamily="34" charset="-122"/>
              </a:rPr>
              <a:t>一、租赁面积方案</a:t>
            </a:r>
            <a:br>
              <a:rPr lang="en-US" altLang="zh-CN" sz="3200" dirty="0">
                <a:solidFill>
                  <a:srgbClr val="006647"/>
                </a:solidFill>
                <a:ea typeface="思源黑体" panose="020B0400000000000000" pitchFamily="34" charset="-122"/>
              </a:rPr>
            </a:br>
            <a:r>
              <a:rPr lang="zh-CN" altLang="en-US" sz="32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需求及改造方案</a:t>
            </a:r>
            <a:br>
              <a:rPr lang="en-US" altLang="zh-CN" sz="3200" dirty="0">
                <a:solidFill>
                  <a:srgbClr val="006647"/>
                </a:solidFill>
                <a:ea typeface="思源黑体" panose="020B0400000000000000" pitchFamily="34" charset="-122"/>
              </a:rPr>
            </a:br>
            <a:r>
              <a:rPr lang="zh-CN" altLang="en-US" sz="3200" dirty="0">
                <a:solidFill>
                  <a:srgbClr val="006647"/>
                </a:solidFill>
                <a:ea typeface="思源黑体" panose="020B0400000000000000" pitchFamily="34" charset="-122"/>
              </a:rPr>
              <a:t>三、改造预算</a:t>
            </a:r>
            <a:br>
              <a:rPr lang="en-US" altLang="zh-CN" sz="3200" dirty="0">
                <a:solidFill>
                  <a:srgbClr val="006647"/>
                </a:solidFill>
                <a:ea typeface="思源黑体" panose="020B0400000000000000" pitchFamily="34" charset="-122"/>
              </a:rPr>
            </a:br>
            <a:endParaRPr lang="zh-CN" altLang="en-US" sz="3200" dirty="0">
              <a:solidFill>
                <a:srgbClr val="006647"/>
              </a:solidFill>
              <a:ea typeface="思源黑体" panose="020B0400000000000000" pitchFamily="34" charset="-122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70199257-E177-474D-8E84-C59E948BA3D4}"/>
              </a:ext>
            </a:extLst>
          </p:cNvPr>
          <p:cNvSpPr txBox="1">
            <a:spLocks/>
          </p:cNvSpPr>
          <p:nvPr/>
        </p:nvSpPr>
        <p:spPr>
          <a:xfrm>
            <a:off x="371157" y="228109"/>
            <a:ext cx="11277600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3200" dirty="0">
                <a:solidFill>
                  <a:srgbClr val="006647"/>
                </a:solidFill>
                <a:ea typeface="思源黑体" panose="020B0400000000000000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9425785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0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E8B5B1D1-85A5-4D0C-B062-D4026A550D09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B706094-F0FA-4816-B669-0DF78690D986}"/>
              </a:ext>
            </a:extLst>
          </p:cNvPr>
          <p:cNvSpPr txBox="1"/>
          <p:nvPr/>
        </p:nvSpPr>
        <p:spPr>
          <a:xfrm>
            <a:off x="477091" y="598114"/>
            <a:ext cx="60989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4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、新建空压机室（24㎡）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1868FB0-1901-4F69-A836-877ED70B444B}"/>
              </a:ext>
            </a:extLst>
          </p:cNvPr>
          <p:cNvSpPr txBox="1"/>
          <p:nvPr/>
        </p:nvSpPr>
        <p:spPr>
          <a:xfrm>
            <a:off x="633450" y="1116712"/>
            <a:ext cx="6205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"/>
            <a:r>
              <a:rPr lang="zh-CN" altLang="en-US" dirty="0">
                <a:solidFill>
                  <a:srgbClr val="C00000"/>
                </a:solidFill>
              </a:rPr>
              <a:t>需求：</a:t>
            </a:r>
            <a:endParaRPr lang="en-US" altLang="zh-CN" sz="1800" b="0" i="0" u="none" strike="noStrike" dirty="0">
              <a:solidFill>
                <a:srgbClr val="C00000"/>
              </a:solidFill>
              <a:effectLst/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D444A55-FE83-47D9-9451-32583728B066}"/>
              </a:ext>
            </a:extLst>
          </p:cNvPr>
          <p:cNvSpPr txBox="1"/>
          <p:nvPr/>
        </p:nvSpPr>
        <p:spPr>
          <a:xfrm>
            <a:off x="633450" y="1116712"/>
            <a:ext cx="6205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"/>
            <a:r>
              <a:rPr lang="zh-CN" altLang="en-US" dirty="0">
                <a:solidFill>
                  <a:srgbClr val="C00000"/>
                </a:solidFill>
              </a:rPr>
              <a:t>需求：隔音材质，排气扇；</a:t>
            </a:r>
            <a:endParaRPr lang="en-US" altLang="zh-CN" sz="1800" b="0" i="0" u="none" strike="noStrike" dirty="0">
              <a:solidFill>
                <a:srgbClr val="C00000"/>
              </a:solidFill>
              <a:effectLst/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4E87D87-06A3-459C-95F4-B6D3DE0F6C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50" y="1604532"/>
            <a:ext cx="9790710" cy="437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0668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1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F71A653-CB69-4948-89DA-A455D94983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190" y="1178578"/>
            <a:ext cx="5829592" cy="231305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5EC628F-B4DC-41FF-BA58-528511FAD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8280" y="1151202"/>
            <a:ext cx="3128957" cy="1771651"/>
          </a:xfrm>
          <a:prstGeom prst="rect">
            <a:avLst/>
          </a:prstGeom>
        </p:spPr>
      </p:pic>
      <p:sp>
        <p:nvSpPr>
          <p:cNvPr id="6" name="箭头: 右 5">
            <a:extLst>
              <a:ext uri="{FF2B5EF4-FFF2-40B4-BE49-F238E27FC236}">
                <a16:creationId xmlns:a16="http://schemas.microsoft.com/office/drawing/2014/main" id="{1EA67BBE-A7EC-4147-95F1-4F6A6A6A63BD}"/>
              </a:ext>
            </a:extLst>
          </p:cNvPr>
          <p:cNvSpPr/>
          <p:nvPr/>
        </p:nvSpPr>
        <p:spPr>
          <a:xfrm rot="1700230">
            <a:off x="6688469" y="1484527"/>
            <a:ext cx="1357162" cy="26950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577D55E-D73C-4794-89F5-D1A66C26E7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031" y="3627173"/>
            <a:ext cx="5829592" cy="1370954"/>
          </a:xfrm>
          <a:prstGeom prst="rect">
            <a:avLst/>
          </a:prstGeom>
        </p:spPr>
      </p:pic>
      <p:sp>
        <p:nvSpPr>
          <p:cNvPr id="9" name="箭头: 右 8">
            <a:extLst>
              <a:ext uri="{FF2B5EF4-FFF2-40B4-BE49-F238E27FC236}">
                <a16:creationId xmlns:a16="http://schemas.microsoft.com/office/drawing/2014/main" id="{99FC19E4-3378-4984-8F2F-F07DDF6F6B4F}"/>
              </a:ext>
            </a:extLst>
          </p:cNvPr>
          <p:cNvSpPr/>
          <p:nvPr/>
        </p:nvSpPr>
        <p:spPr>
          <a:xfrm rot="7883331">
            <a:off x="4724996" y="3362397"/>
            <a:ext cx="760300" cy="26046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C05C2A8-5EC9-4DCF-8F89-083E829D83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1054" y="3118552"/>
            <a:ext cx="3128957" cy="1755869"/>
          </a:xfrm>
          <a:prstGeom prst="rect">
            <a:avLst/>
          </a:prstGeom>
        </p:spPr>
      </p:pic>
      <p:sp>
        <p:nvSpPr>
          <p:cNvPr id="11" name="箭头: 右 10">
            <a:extLst>
              <a:ext uri="{FF2B5EF4-FFF2-40B4-BE49-F238E27FC236}">
                <a16:creationId xmlns:a16="http://schemas.microsoft.com/office/drawing/2014/main" id="{095EC58B-A283-448A-B92E-A4FD18EADF28}"/>
              </a:ext>
            </a:extLst>
          </p:cNvPr>
          <p:cNvSpPr/>
          <p:nvPr/>
        </p:nvSpPr>
        <p:spPr>
          <a:xfrm rot="2943017">
            <a:off x="6389760" y="3363379"/>
            <a:ext cx="2016782" cy="35493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01923A0-D3D9-4DE6-AB64-449CB4B77214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70B4A7C-D39D-42A5-83C0-FEDC2F8D1655}"/>
              </a:ext>
            </a:extLst>
          </p:cNvPr>
          <p:cNvSpPr txBox="1"/>
          <p:nvPr/>
        </p:nvSpPr>
        <p:spPr>
          <a:xfrm>
            <a:off x="562244" y="611761"/>
            <a:ext cx="77738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供暖管线改造（单排该双排增加散热器）</a:t>
            </a:r>
            <a:endParaRPr lang="zh-CN" altLang="en-US" sz="2000" b="1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B80D022-26C9-4650-B9D0-3B7B4AC64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089" y="5070121"/>
            <a:ext cx="10373921" cy="129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6174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2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9B46F18C-5350-4E40-8A7F-D42DD7D91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515" y="608928"/>
            <a:ext cx="11493500" cy="307777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供暖管线改造（隔断侧增加散热器）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75ADD45-7490-46D3-BE64-E99016FC4E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398" y="1088519"/>
            <a:ext cx="4749636" cy="246826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910C5F2-BEEB-41CC-AF39-0BC52D7BF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7791" y="1099696"/>
            <a:ext cx="4749636" cy="2445914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4D6F36F5-D51E-4574-B950-EDB8E48506DB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1FD59D1-D06E-47F4-8D2A-F0B9F1374E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450" y="3728601"/>
            <a:ext cx="10325100" cy="273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6763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3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DDE775BC-66E0-44E1-9325-6D392B22B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1" y="649237"/>
            <a:ext cx="11493500" cy="307777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供暖管线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1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库仅租赁区域供暖）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CDC072D-347A-47C0-B486-AC8224FF6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402" y="1061434"/>
            <a:ext cx="5149597" cy="245251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A14D436-07C7-4593-885A-385C3133F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6341" y="1061433"/>
            <a:ext cx="5149596" cy="2452513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A30878B6-F87A-4D3D-B7E0-C41E1022C1E7}"/>
              </a:ext>
            </a:extLst>
          </p:cNvPr>
          <p:cNvSpPr txBox="1">
            <a:spLocks/>
          </p:cNvSpPr>
          <p:nvPr/>
        </p:nvSpPr>
        <p:spPr>
          <a:xfrm>
            <a:off x="457200" y="175485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E3ED154-E593-4018-8399-89B11FC04B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401" y="3618366"/>
            <a:ext cx="10559535" cy="276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463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24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DDE775BC-66E0-44E1-9325-6D392B22B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267" y="626797"/>
            <a:ext cx="11493500" cy="307777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增加电缆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A30878B6-F87A-4D3D-B7E0-C41E1022C1E7}"/>
              </a:ext>
            </a:extLst>
          </p:cNvPr>
          <p:cNvSpPr txBox="1">
            <a:spLocks/>
          </p:cNvSpPr>
          <p:nvPr/>
        </p:nvSpPr>
        <p:spPr>
          <a:xfrm>
            <a:off x="457200" y="175485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D085DA6-9C87-442C-BB2D-DCC8E347B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44" y="1198275"/>
            <a:ext cx="4077818" cy="34520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F3383B5-75B0-45FB-ADEE-B3AE5B79B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340" y="1138077"/>
            <a:ext cx="5959843" cy="35122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7DDEBE4-EC1A-487E-BC3B-03FFCC2E43E1}"/>
              </a:ext>
            </a:extLst>
          </p:cNvPr>
          <p:cNvSpPr txBox="1"/>
          <p:nvPr/>
        </p:nvSpPr>
        <p:spPr>
          <a:xfrm>
            <a:off x="609591" y="5763988"/>
            <a:ext cx="106615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"/>
            <a:r>
              <a:rPr lang="zh-CN" altLang="en-US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需求电量为</a:t>
            </a:r>
            <a:r>
              <a:rPr lang="en-US" altLang="zh-CN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77kw</a:t>
            </a:r>
            <a:r>
              <a:rPr lang="zh-CN" altLang="en-US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，现场可提供电量</a:t>
            </a:r>
            <a:r>
              <a:rPr lang="en-US" altLang="zh-CN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35KVA,</a:t>
            </a:r>
            <a:r>
              <a:rPr lang="zh-CN" altLang="en-US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增容</a:t>
            </a:r>
            <a:r>
              <a:rPr lang="en-US" altLang="zh-CN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46KVA</a:t>
            </a:r>
            <a:r>
              <a:rPr lang="zh-CN" altLang="en-US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至</a:t>
            </a:r>
            <a:r>
              <a:rPr lang="en-US" altLang="zh-CN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81KVA,</a:t>
            </a:r>
            <a:r>
              <a:rPr lang="zh-CN" altLang="en-US" dirty="0">
                <a:solidFill>
                  <a:srgbClr val="C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可满足经营需求。</a:t>
            </a:r>
            <a:endParaRPr lang="en-US" altLang="zh-CN" dirty="0">
              <a:solidFill>
                <a:srgbClr val="C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E4AC977-666A-4E24-9C67-E4C17171B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1" y="4732310"/>
            <a:ext cx="10786721" cy="987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3980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2713"/>
            <a:ext cx="454025" cy="288925"/>
          </a:xfrm>
        </p:spPr>
        <p:txBody>
          <a:bodyPr/>
          <a:lstStyle/>
          <a:p>
            <a:fld id="{71DC3DCB-2371-40D2-8154-232EF12A1211}" type="slidenum">
              <a:rPr lang="en-GB" smtClean="0"/>
              <a:t>25</a:t>
            </a:fld>
            <a:endParaRPr lang="en-GB" dirty="0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F44974A7-4254-4070-952E-0148F91CF29E}"/>
              </a:ext>
            </a:extLst>
          </p:cNvPr>
          <p:cNvGrpSpPr/>
          <p:nvPr/>
        </p:nvGrpSpPr>
        <p:grpSpPr>
          <a:xfrm>
            <a:off x="564088" y="2321039"/>
            <a:ext cx="6335904" cy="1199214"/>
            <a:chOff x="4224592" y="1596969"/>
            <a:chExt cx="7200000" cy="1644652"/>
          </a:xfrm>
        </p:grpSpPr>
        <p:sp>
          <p:nvSpPr>
            <p:cNvPr id="15" name="TextBox 1">
              <a:extLst>
                <a:ext uri="{FF2B5EF4-FFF2-40B4-BE49-F238E27FC236}">
                  <a16:creationId xmlns:a16="http://schemas.microsoft.com/office/drawing/2014/main" id="{B0754218-7388-4812-B662-CBD0ECAEC7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68977" y="1690339"/>
              <a:ext cx="5054103" cy="1392923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itchFamily="34" charset="0"/>
                  <a:ea typeface="宋体" pitchFamily="2" charset="-122"/>
                </a:defRPr>
              </a:lvl9pPr>
            </a:lstStyle>
            <a:p>
              <a:pPr algn="ctr" defTabSz="1219170" eaLnBrk="1" hangingPunct="1"/>
              <a:r>
                <a:rPr lang="en-US" altLang="zh-CN" sz="6000" b="1" dirty="0">
                  <a:solidFill>
                    <a:srgbClr val="31593C"/>
                  </a:solidFill>
                  <a:latin typeface="微软雅黑" pitchFamily="34" charset="-122"/>
                  <a:ea typeface="微软雅黑" pitchFamily="34" charset="-122"/>
                </a:rPr>
                <a:t>Thank you!</a:t>
              </a:r>
              <a:endParaRPr lang="zh-CN" altLang="en-US" sz="6000" b="1" dirty="0">
                <a:solidFill>
                  <a:srgbClr val="31593C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A0210239-5E40-48AA-B8D6-327A95D4E6FD}"/>
                </a:ext>
              </a:extLst>
            </p:cNvPr>
            <p:cNvCxnSpPr/>
            <p:nvPr/>
          </p:nvCxnSpPr>
          <p:spPr>
            <a:xfrm>
              <a:off x="4224592" y="1596969"/>
              <a:ext cx="7200000" cy="0"/>
            </a:xfrm>
            <a:prstGeom prst="line">
              <a:avLst/>
            </a:prstGeom>
            <a:noFill/>
            <a:ln w="57150">
              <a:solidFill>
                <a:srgbClr val="0C73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41CA4845-DC18-4B22-ADFF-CAB2F77133A2}"/>
                </a:ext>
              </a:extLst>
            </p:cNvPr>
            <p:cNvCxnSpPr/>
            <p:nvPr/>
          </p:nvCxnSpPr>
          <p:spPr>
            <a:xfrm>
              <a:off x="4224592" y="3241621"/>
              <a:ext cx="7200000" cy="0"/>
            </a:xfrm>
            <a:prstGeom prst="line">
              <a:avLst/>
            </a:prstGeom>
            <a:noFill/>
            <a:ln w="57150">
              <a:solidFill>
                <a:srgbClr val="0C73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814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11818191" y="6478946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3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C28E4CD-713A-41B2-945A-29B82A6AEB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8363" y="950138"/>
            <a:ext cx="5280564" cy="38473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765E3C4E-046F-4C91-996D-F60CD48F93DE}"/>
              </a:ext>
            </a:extLst>
          </p:cNvPr>
          <p:cNvSpPr txBox="1">
            <a:spLocks/>
          </p:cNvSpPr>
          <p:nvPr/>
        </p:nvSpPr>
        <p:spPr>
          <a:xfrm>
            <a:off x="11818191" y="6478946"/>
            <a:ext cx="454334" cy="2895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DC3DCB-2371-40D2-8154-232EF12A1211}" type="slidenum">
              <a:rPr lang="en-GB" sz="1600" smtClean="0">
                <a:solidFill>
                  <a:srgbClr val="4C4C4C">
                    <a:tint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3</a:t>
            </a:fld>
            <a:endParaRPr lang="en-GB" sz="1600" dirty="0">
              <a:solidFill>
                <a:srgbClr val="4C4C4C">
                  <a:tint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45F2A0B6-C2E0-4933-B9D0-EECC66DFB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327" y="253509"/>
            <a:ext cx="11277600" cy="369332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一、租赁面积方案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4905.56 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㎡</a:t>
            </a:r>
            <a:r>
              <a:rPr lang="zh-CN" altLang="en-US" sz="2400" dirty="0">
                <a:solidFill>
                  <a:srgbClr val="00953A"/>
                </a:solidFill>
                <a:ea typeface="思源黑体" panose="020B0400000000000000" pitchFamily="34" charset="-122"/>
              </a:rPr>
              <a:t>）</a:t>
            </a:r>
          </a:p>
        </p:txBody>
      </p:sp>
      <p:sp>
        <p:nvSpPr>
          <p:cNvPr id="6" name="五角星 7">
            <a:extLst>
              <a:ext uri="{FF2B5EF4-FFF2-40B4-BE49-F238E27FC236}">
                <a16:creationId xmlns:a16="http://schemas.microsoft.com/office/drawing/2014/main" id="{A8A7336C-241B-44AF-BEBA-A21C152F4843}"/>
              </a:ext>
            </a:extLst>
          </p:cNvPr>
          <p:cNvSpPr/>
          <p:nvPr/>
        </p:nvSpPr>
        <p:spPr>
          <a:xfrm>
            <a:off x="7055208" y="3849480"/>
            <a:ext cx="374904" cy="375386"/>
          </a:xfrm>
          <a:prstGeom prst="star5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6B00019-9ADC-4A8C-85C7-CD6CD640CBFF}"/>
              </a:ext>
            </a:extLst>
          </p:cNvPr>
          <p:cNvSpPr/>
          <p:nvPr/>
        </p:nvSpPr>
        <p:spPr>
          <a:xfrm>
            <a:off x="6890567" y="3699635"/>
            <a:ext cx="704187" cy="64541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0702574-273B-44C4-99CB-70253BBBB5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73" y="950138"/>
            <a:ext cx="5280564" cy="38473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线形标注 1(带边框和强调线) 137">
            <a:extLst>
              <a:ext uri="{FF2B5EF4-FFF2-40B4-BE49-F238E27FC236}">
                <a16:creationId xmlns:a16="http://schemas.microsoft.com/office/drawing/2014/main" id="{0DEA6C40-E9FF-4520-82CB-3DE955097FC9}"/>
              </a:ext>
            </a:extLst>
          </p:cNvPr>
          <p:cNvSpPr/>
          <p:nvPr/>
        </p:nvSpPr>
        <p:spPr>
          <a:xfrm>
            <a:off x="4713075" y="4932534"/>
            <a:ext cx="5763358" cy="1472939"/>
          </a:xfrm>
          <a:prstGeom prst="accentBorderCallout1">
            <a:avLst>
              <a:gd name="adj1" fmla="val 18750"/>
              <a:gd name="adj2" fmla="val -8333"/>
              <a:gd name="adj3" fmla="val -81083"/>
              <a:gd name="adj4" fmla="val -8949"/>
            </a:avLst>
          </a:prstGeom>
          <a:ln w="285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长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.6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跨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7.5m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跨）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宽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.4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跨）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租赁面积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8.32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㎡ （雨棚）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+26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（办公区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）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+4435.2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（库区）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4905.56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37676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4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CC227B99-09E7-4779-A5F1-159B9BC16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309" y="171850"/>
            <a:ext cx="11277600" cy="369332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解决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4D2EAC2-68A8-4AE2-94EE-2453445AC47C}"/>
              </a:ext>
            </a:extLst>
          </p:cNvPr>
          <p:cNvGrpSpPr/>
          <p:nvPr/>
        </p:nvGrpSpPr>
        <p:grpSpPr>
          <a:xfrm>
            <a:off x="7934662" y="588066"/>
            <a:ext cx="3714095" cy="5604350"/>
            <a:chOff x="6287556" y="1070314"/>
            <a:chExt cx="3356690" cy="4932605"/>
          </a:xfrm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83535C3-0AC2-43B3-B06C-54FC7FC30957}"/>
                </a:ext>
              </a:extLst>
            </p:cNvPr>
            <p:cNvSpPr/>
            <p:nvPr/>
          </p:nvSpPr>
          <p:spPr bwMode="auto">
            <a:xfrm flipH="1">
              <a:off x="7505389" y="5600814"/>
              <a:ext cx="893635" cy="192253"/>
            </a:xfrm>
            <a:custGeom>
              <a:avLst/>
              <a:gdLst>
                <a:gd name="T0" fmla="*/ 20 w 23"/>
                <a:gd name="T1" fmla="*/ 0 h 5"/>
                <a:gd name="T2" fmla="*/ 3 w 23"/>
                <a:gd name="T3" fmla="*/ 0 h 5"/>
                <a:gd name="T4" fmla="*/ 0 w 23"/>
                <a:gd name="T5" fmla="*/ 2 h 5"/>
                <a:gd name="T6" fmla="*/ 3 w 23"/>
                <a:gd name="T7" fmla="*/ 5 h 5"/>
                <a:gd name="T8" fmla="*/ 20 w 23"/>
                <a:gd name="T9" fmla="*/ 5 h 5"/>
                <a:gd name="T10" fmla="*/ 23 w 23"/>
                <a:gd name="T11" fmla="*/ 2 h 5"/>
                <a:gd name="T12" fmla="*/ 20 w 23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5">
                  <a:moveTo>
                    <a:pt x="2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2" y="5"/>
                    <a:pt x="23" y="4"/>
                    <a:pt x="23" y="2"/>
                  </a:cubicBezTo>
                  <a:cubicBezTo>
                    <a:pt x="23" y="1"/>
                    <a:pt x="22" y="0"/>
                    <a:pt x="20" y="0"/>
                  </a:cubicBez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5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93B93C75-BD85-4929-A78F-BB20678A086A}"/>
                </a:ext>
              </a:extLst>
            </p:cNvPr>
            <p:cNvSpPr/>
            <p:nvPr/>
          </p:nvSpPr>
          <p:spPr>
            <a:xfrm flipH="1">
              <a:off x="7271163" y="5203741"/>
              <a:ext cx="1362084" cy="397072"/>
            </a:xfrm>
            <a:custGeom>
              <a:avLst/>
              <a:gdLst>
                <a:gd name="connsiteX0" fmla="*/ 0 w 2645228"/>
                <a:gd name="connsiteY0" fmla="*/ 0 h 496975"/>
                <a:gd name="connsiteX1" fmla="*/ 2645228 w 2645228"/>
                <a:gd name="connsiteY1" fmla="*/ 0 h 496975"/>
                <a:gd name="connsiteX2" fmla="*/ 2645228 w 2645228"/>
                <a:gd name="connsiteY2" fmla="*/ 56095 h 496975"/>
                <a:gd name="connsiteX3" fmla="*/ 2204348 w 2645228"/>
                <a:gd name="connsiteY3" fmla="*/ 496975 h 496975"/>
                <a:gd name="connsiteX4" fmla="*/ 440880 w 2645228"/>
                <a:gd name="connsiteY4" fmla="*/ 496975 h 496975"/>
                <a:gd name="connsiteX5" fmla="*/ 0 w 2645228"/>
                <a:gd name="connsiteY5" fmla="*/ 56095 h 496975"/>
                <a:gd name="connsiteX6" fmla="*/ 0 w 2645228"/>
                <a:gd name="connsiteY6" fmla="*/ 0 h 49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5228" h="496975">
                  <a:moveTo>
                    <a:pt x="0" y="0"/>
                  </a:moveTo>
                  <a:lnTo>
                    <a:pt x="2645228" y="0"/>
                  </a:lnTo>
                  <a:lnTo>
                    <a:pt x="2645228" y="56095"/>
                  </a:lnTo>
                  <a:cubicBezTo>
                    <a:pt x="2645228" y="299586"/>
                    <a:pt x="2447839" y="496975"/>
                    <a:pt x="2204348" y="496975"/>
                  </a:cubicBezTo>
                  <a:lnTo>
                    <a:pt x="440880" y="496975"/>
                  </a:lnTo>
                  <a:cubicBezTo>
                    <a:pt x="197389" y="496975"/>
                    <a:pt x="0" y="299586"/>
                    <a:pt x="0" y="560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4BEF74B1-18E1-45BA-9D09-A7DDA7831891}"/>
                </a:ext>
              </a:extLst>
            </p:cNvPr>
            <p:cNvSpPr/>
            <p:nvPr/>
          </p:nvSpPr>
          <p:spPr>
            <a:xfrm flipH="1">
              <a:off x="7648403" y="5873211"/>
              <a:ext cx="607608" cy="129708"/>
            </a:xfrm>
            <a:custGeom>
              <a:avLst/>
              <a:gdLst>
                <a:gd name="connsiteX0" fmla="*/ 0 w 694404"/>
                <a:gd name="connsiteY0" fmla="*/ 0 h 288475"/>
                <a:gd name="connsiteX1" fmla="*/ 694404 w 694404"/>
                <a:gd name="connsiteY1" fmla="*/ 0 h 288475"/>
                <a:gd name="connsiteX2" fmla="*/ 693800 w 694404"/>
                <a:gd name="connsiteY2" fmla="*/ 5989 h 288475"/>
                <a:gd name="connsiteX3" fmla="*/ 347202 w 694404"/>
                <a:gd name="connsiteY3" fmla="*/ 288475 h 288475"/>
                <a:gd name="connsiteX4" fmla="*/ 604 w 694404"/>
                <a:gd name="connsiteY4" fmla="*/ 5989 h 288475"/>
                <a:gd name="connsiteX5" fmla="*/ 0 w 694404"/>
                <a:gd name="connsiteY5" fmla="*/ 0 h 28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4404" h="288475">
                  <a:moveTo>
                    <a:pt x="0" y="0"/>
                  </a:moveTo>
                  <a:lnTo>
                    <a:pt x="694404" y="0"/>
                  </a:lnTo>
                  <a:lnTo>
                    <a:pt x="693800" y="5989"/>
                  </a:lnTo>
                  <a:cubicBezTo>
                    <a:pt x="660811" y="167204"/>
                    <a:pt x="518169" y="288475"/>
                    <a:pt x="347202" y="288475"/>
                  </a:cubicBezTo>
                  <a:cubicBezTo>
                    <a:pt x="176235" y="288475"/>
                    <a:pt x="33593" y="167204"/>
                    <a:pt x="604" y="59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CAC3E9-1522-4857-8C4D-566B3B637FAC}"/>
                </a:ext>
              </a:extLst>
            </p:cNvPr>
            <p:cNvSpPr/>
            <p:nvPr/>
          </p:nvSpPr>
          <p:spPr bwMode="auto">
            <a:xfrm>
              <a:off x="7842902" y="4436526"/>
              <a:ext cx="177753" cy="525327"/>
            </a:xfrm>
            <a:custGeom>
              <a:avLst/>
              <a:gdLst>
                <a:gd name="T0" fmla="*/ 77 w 112"/>
                <a:gd name="T1" fmla="*/ 270 h 331"/>
                <a:gd name="T2" fmla="*/ 44 w 112"/>
                <a:gd name="T3" fmla="*/ 331 h 331"/>
                <a:gd name="T4" fmla="*/ 15 w 112"/>
                <a:gd name="T5" fmla="*/ 328 h 331"/>
                <a:gd name="T6" fmla="*/ 0 w 112"/>
                <a:gd name="T7" fmla="*/ 261 h 331"/>
                <a:gd name="T8" fmla="*/ 35 w 112"/>
                <a:gd name="T9" fmla="*/ 0 h 331"/>
                <a:gd name="T10" fmla="*/ 112 w 112"/>
                <a:gd name="T11" fmla="*/ 11 h 331"/>
                <a:gd name="T12" fmla="*/ 77 w 112"/>
                <a:gd name="T13" fmla="*/ 27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331">
                  <a:moveTo>
                    <a:pt x="77" y="270"/>
                  </a:moveTo>
                  <a:lnTo>
                    <a:pt x="44" y="331"/>
                  </a:lnTo>
                  <a:lnTo>
                    <a:pt x="15" y="328"/>
                  </a:lnTo>
                  <a:lnTo>
                    <a:pt x="0" y="261"/>
                  </a:lnTo>
                  <a:lnTo>
                    <a:pt x="35" y="0"/>
                  </a:lnTo>
                  <a:lnTo>
                    <a:pt x="112" y="11"/>
                  </a:lnTo>
                  <a:lnTo>
                    <a:pt x="77" y="27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5E0ACBF-713B-41E6-A25A-21FF1881C261}"/>
                </a:ext>
              </a:extLst>
            </p:cNvPr>
            <p:cNvSpPr/>
            <p:nvPr/>
          </p:nvSpPr>
          <p:spPr bwMode="auto">
            <a:xfrm>
              <a:off x="7893687" y="4342887"/>
              <a:ext cx="139664" cy="161883"/>
            </a:xfrm>
            <a:custGeom>
              <a:avLst/>
              <a:gdLst>
                <a:gd name="T0" fmla="*/ 58 w 64"/>
                <a:gd name="T1" fmla="*/ 48 h 74"/>
                <a:gd name="T2" fmla="*/ 27 w 64"/>
                <a:gd name="T3" fmla="*/ 72 h 74"/>
                <a:gd name="T4" fmla="*/ 26 w 64"/>
                <a:gd name="T5" fmla="*/ 72 h 74"/>
                <a:gd name="T6" fmla="*/ 2 w 64"/>
                <a:gd name="T7" fmla="*/ 41 h 74"/>
                <a:gd name="T8" fmla="*/ 6 w 64"/>
                <a:gd name="T9" fmla="*/ 15 h 74"/>
                <a:gd name="T10" fmla="*/ 35 w 64"/>
                <a:gd name="T11" fmla="*/ 7 h 74"/>
                <a:gd name="T12" fmla="*/ 36 w 64"/>
                <a:gd name="T13" fmla="*/ 7 h 74"/>
                <a:gd name="T14" fmla="*/ 62 w 64"/>
                <a:gd name="T15" fmla="*/ 22 h 74"/>
                <a:gd name="T16" fmla="*/ 58 w 64"/>
                <a:gd name="T17" fmla="*/ 4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74">
                  <a:moveTo>
                    <a:pt x="58" y="48"/>
                  </a:moveTo>
                  <a:cubicBezTo>
                    <a:pt x="56" y="63"/>
                    <a:pt x="42" y="74"/>
                    <a:pt x="2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11" y="70"/>
                    <a:pt x="0" y="56"/>
                    <a:pt x="2" y="4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0"/>
                    <a:pt x="20" y="5"/>
                    <a:pt x="35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51" y="9"/>
                    <a:pt x="64" y="7"/>
                    <a:pt x="62" y="22"/>
                  </a:cubicBezTo>
                  <a:lnTo>
                    <a:pt x="58" y="48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098BF5A-6997-41A9-B67A-264621DE37D9}"/>
                </a:ext>
              </a:extLst>
            </p:cNvPr>
            <p:cNvSpPr/>
            <p:nvPr/>
          </p:nvSpPr>
          <p:spPr bwMode="auto">
            <a:xfrm>
              <a:off x="7877817" y="4401608"/>
              <a:ext cx="152360" cy="147600"/>
            </a:xfrm>
            <a:custGeom>
              <a:avLst/>
              <a:gdLst>
                <a:gd name="T0" fmla="*/ 85 w 96"/>
                <a:gd name="T1" fmla="*/ 93 h 93"/>
                <a:gd name="T2" fmla="*/ 0 w 96"/>
                <a:gd name="T3" fmla="*/ 81 h 93"/>
                <a:gd name="T4" fmla="*/ 11 w 96"/>
                <a:gd name="T5" fmla="*/ 0 h 93"/>
                <a:gd name="T6" fmla="*/ 96 w 96"/>
                <a:gd name="T7" fmla="*/ 12 h 93"/>
                <a:gd name="T8" fmla="*/ 85 w 96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3">
                  <a:moveTo>
                    <a:pt x="85" y="93"/>
                  </a:moveTo>
                  <a:lnTo>
                    <a:pt x="0" y="81"/>
                  </a:lnTo>
                  <a:lnTo>
                    <a:pt x="11" y="0"/>
                  </a:lnTo>
                  <a:lnTo>
                    <a:pt x="96" y="12"/>
                  </a:lnTo>
                  <a:lnTo>
                    <a:pt x="85" y="93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F39F34C-5477-4003-94B9-1ADFC04954A0}"/>
                </a:ext>
              </a:extLst>
            </p:cNvPr>
            <p:cNvSpPr/>
            <p:nvPr/>
          </p:nvSpPr>
          <p:spPr bwMode="auto">
            <a:xfrm>
              <a:off x="7866707" y="4942806"/>
              <a:ext cx="46027" cy="76180"/>
            </a:xfrm>
            <a:custGeom>
              <a:avLst/>
              <a:gdLst>
                <a:gd name="T0" fmla="*/ 0 w 21"/>
                <a:gd name="T1" fmla="*/ 5 h 35"/>
                <a:gd name="T2" fmla="*/ 5 w 21"/>
                <a:gd name="T3" fmla="*/ 26 h 35"/>
                <a:gd name="T4" fmla="*/ 21 w 21"/>
                <a:gd name="T5" fmla="*/ 9 h 35"/>
                <a:gd name="T6" fmla="*/ 0 w 21"/>
                <a:gd name="T7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5">
                  <a:moveTo>
                    <a:pt x="0" y="5"/>
                  </a:moveTo>
                  <a:cubicBezTo>
                    <a:pt x="0" y="5"/>
                    <a:pt x="3" y="22"/>
                    <a:pt x="5" y="26"/>
                  </a:cubicBezTo>
                  <a:cubicBezTo>
                    <a:pt x="6" y="31"/>
                    <a:pt x="9" y="35"/>
                    <a:pt x="21" y="9"/>
                  </a:cubicBezTo>
                  <a:cubicBezTo>
                    <a:pt x="21" y="9"/>
                    <a:pt x="13" y="0"/>
                    <a:pt x="0" y="5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52DE081-B792-4E7A-B8C0-A24ABF3D593E}"/>
                </a:ext>
              </a:extLst>
            </p:cNvPr>
            <p:cNvSpPr/>
            <p:nvPr/>
          </p:nvSpPr>
          <p:spPr bwMode="auto">
            <a:xfrm>
              <a:off x="8027005" y="4434938"/>
              <a:ext cx="176167" cy="525327"/>
            </a:xfrm>
            <a:custGeom>
              <a:avLst/>
              <a:gdLst>
                <a:gd name="T0" fmla="*/ 75 w 111"/>
                <a:gd name="T1" fmla="*/ 269 h 331"/>
                <a:gd name="T2" fmla="*/ 44 w 111"/>
                <a:gd name="T3" fmla="*/ 331 h 331"/>
                <a:gd name="T4" fmla="*/ 15 w 111"/>
                <a:gd name="T5" fmla="*/ 326 h 331"/>
                <a:gd name="T6" fmla="*/ 0 w 111"/>
                <a:gd name="T7" fmla="*/ 259 h 331"/>
                <a:gd name="T8" fmla="*/ 34 w 111"/>
                <a:gd name="T9" fmla="*/ 0 h 331"/>
                <a:gd name="T10" fmla="*/ 111 w 111"/>
                <a:gd name="T11" fmla="*/ 9 h 331"/>
                <a:gd name="T12" fmla="*/ 75 w 111"/>
                <a:gd name="T13" fmla="*/ 26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331">
                  <a:moveTo>
                    <a:pt x="75" y="269"/>
                  </a:moveTo>
                  <a:lnTo>
                    <a:pt x="44" y="331"/>
                  </a:lnTo>
                  <a:lnTo>
                    <a:pt x="15" y="326"/>
                  </a:lnTo>
                  <a:lnTo>
                    <a:pt x="0" y="259"/>
                  </a:lnTo>
                  <a:lnTo>
                    <a:pt x="34" y="0"/>
                  </a:lnTo>
                  <a:lnTo>
                    <a:pt x="111" y="9"/>
                  </a:lnTo>
                  <a:lnTo>
                    <a:pt x="75" y="269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639A62A-A301-49E4-BA07-9FC74D21A603}"/>
                </a:ext>
              </a:extLst>
            </p:cNvPr>
            <p:cNvSpPr/>
            <p:nvPr/>
          </p:nvSpPr>
          <p:spPr bwMode="auto">
            <a:xfrm>
              <a:off x="8076203" y="4338125"/>
              <a:ext cx="139664" cy="161883"/>
            </a:xfrm>
            <a:custGeom>
              <a:avLst/>
              <a:gdLst>
                <a:gd name="T0" fmla="*/ 58 w 64"/>
                <a:gd name="T1" fmla="*/ 48 h 74"/>
                <a:gd name="T2" fmla="*/ 27 w 64"/>
                <a:gd name="T3" fmla="*/ 72 h 74"/>
                <a:gd name="T4" fmla="*/ 26 w 64"/>
                <a:gd name="T5" fmla="*/ 72 h 74"/>
                <a:gd name="T6" fmla="*/ 2 w 64"/>
                <a:gd name="T7" fmla="*/ 41 h 74"/>
                <a:gd name="T8" fmla="*/ 6 w 64"/>
                <a:gd name="T9" fmla="*/ 15 h 74"/>
                <a:gd name="T10" fmla="*/ 35 w 64"/>
                <a:gd name="T11" fmla="*/ 7 h 74"/>
                <a:gd name="T12" fmla="*/ 36 w 64"/>
                <a:gd name="T13" fmla="*/ 7 h 74"/>
                <a:gd name="T14" fmla="*/ 61 w 64"/>
                <a:gd name="T15" fmla="*/ 23 h 74"/>
                <a:gd name="T16" fmla="*/ 58 w 64"/>
                <a:gd name="T17" fmla="*/ 4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74">
                  <a:moveTo>
                    <a:pt x="58" y="48"/>
                  </a:moveTo>
                  <a:cubicBezTo>
                    <a:pt x="56" y="64"/>
                    <a:pt x="42" y="74"/>
                    <a:pt x="2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11" y="70"/>
                    <a:pt x="0" y="56"/>
                    <a:pt x="2" y="4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0"/>
                    <a:pt x="20" y="5"/>
                    <a:pt x="35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51" y="9"/>
                    <a:pt x="64" y="7"/>
                    <a:pt x="61" y="23"/>
                  </a:cubicBezTo>
                  <a:lnTo>
                    <a:pt x="58" y="48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0E87E234-C2E6-4F15-BA08-F7C6DFA96D80}"/>
                </a:ext>
              </a:extLst>
            </p:cNvPr>
            <p:cNvSpPr/>
            <p:nvPr/>
          </p:nvSpPr>
          <p:spPr bwMode="auto">
            <a:xfrm>
              <a:off x="8061919" y="4400022"/>
              <a:ext cx="152360" cy="146012"/>
            </a:xfrm>
            <a:custGeom>
              <a:avLst/>
              <a:gdLst>
                <a:gd name="T0" fmla="*/ 85 w 96"/>
                <a:gd name="T1" fmla="*/ 92 h 92"/>
                <a:gd name="T2" fmla="*/ 0 w 96"/>
                <a:gd name="T3" fmla="*/ 81 h 92"/>
                <a:gd name="T4" fmla="*/ 11 w 96"/>
                <a:gd name="T5" fmla="*/ 0 h 92"/>
                <a:gd name="T6" fmla="*/ 96 w 96"/>
                <a:gd name="T7" fmla="*/ 11 h 92"/>
                <a:gd name="T8" fmla="*/ 85 w 96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2">
                  <a:moveTo>
                    <a:pt x="85" y="92"/>
                  </a:moveTo>
                  <a:lnTo>
                    <a:pt x="0" y="81"/>
                  </a:lnTo>
                  <a:lnTo>
                    <a:pt x="11" y="0"/>
                  </a:lnTo>
                  <a:lnTo>
                    <a:pt x="96" y="11"/>
                  </a:lnTo>
                  <a:lnTo>
                    <a:pt x="85" y="92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F999FB84-DDBA-4208-AA4B-4B35AF996D39}"/>
                </a:ext>
              </a:extLst>
            </p:cNvPr>
            <p:cNvSpPr/>
            <p:nvPr/>
          </p:nvSpPr>
          <p:spPr bwMode="auto">
            <a:xfrm>
              <a:off x="8050809" y="4938045"/>
              <a:ext cx="46027" cy="76180"/>
            </a:xfrm>
            <a:custGeom>
              <a:avLst/>
              <a:gdLst>
                <a:gd name="T0" fmla="*/ 0 w 21"/>
                <a:gd name="T1" fmla="*/ 6 h 35"/>
                <a:gd name="T2" fmla="*/ 5 w 21"/>
                <a:gd name="T3" fmla="*/ 27 h 35"/>
                <a:gd name="T4" fmla="*/ 21 w 21"/>
                <a:gd name="T5" fmla="*/ 10 h 35"/>
                <a:gd name="T6" fmla="*/ 0 w 21"/>
                <a:gd name="T7" fmla="*/ 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5">
                  <a:moveTo>
                    <a:pt x="0" y="6"/>
                  </a:moveTo>
                  <a:cubicBezTo>
                    <a:pt x="0" y="6"/>
                    <a:pt x="3" y="22"/>
                    <a:pt x="5" y="27"/>
                  </a:cubicBezTo>
                  <a:cubicBezTo>
                    <a:pt x="6" y="31"/>
                    <a:pt x="9" y="35"/>
                    <a:pt x="21" y="10"/>
                  </a:cubicBezTo>
                  <a:cubicBezTo>
                    <a:pt x="21" y="10"/>
                    <a:pt x="13" y="0"/>
                    <a:pt x="0" y="6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C31E06FB-4742-4ABC-98D6-32BC2CB4EDEA}"/>
                </a:ext>
              </a:extLst>
            </p:cNvPr>
            <p:cNvSpPr/>
            <p:nvPr/>
          </p:nvSpPr>
          <p:spPr bwMode="auto">
            <a:xfrm>
              <a:off x="8187300" y="4438111"/>
              <a:ext cx="41264" cy="266631"/>
            </a:xfrm>
            <a:custGeom>
              <a:avLst/>
              <a:gdLst>
                <a:gd name="T0" fmla="*/ 4 w 19"/>
                <a:gd name="T1" fmla="*/ 0 h 122"/>
                <a:gd name="T2" fmla="*/ 19 w 19"/>
                <a:gd name="T3" fmla="*/ 16 h 122"/>
                <a:gd name="T4" fmla="*/ 7 w 19"/>
                <a:gd name="T5" fmla="*/ 115 h 122"/>
                <a:gd name="T6" fmla="*/ 0 w 19"/>
                <a:gd name="T7" fmla="*/ 121 h 122"/>
                <a:gd name="T8" fmla="*/ 10 w 19"/>
                <a:gd name="T9" fmla="*/ 43 h 122"/>
                <a:gd name="T10" fmla="*/ 5 w 19"/>
                <a:gd name="T11" fmla="*/ 34 h 122"/>
                <a:gd name="T12" fmla="*/ 4 w 19"/>
                <a:gd name="T1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22">
                  <a:moveTo>
                    <a:pt x="4" y="0"/>
                  </a:moveTo>
                  <a:cubicBezTo>
                    <a:pt x="4" y="0"/>
                    <a:pt x="18" y="10"/>
                    <a:pt x="19" y="16"/>
                  </a:cubicBezTo>
                  <a:cubicBezTo>
                    <a:pt x="19" y="21"/>
                    <a:pt x="7" y="115"/>
                    <a:pt x="7" y="115"/>
                  </a:cubicBezTo>
                  <a:cubicBezTo>
                    <a:pt x="7" y="115"/>
                    <a:pt x="8" y="122"/>
                    <a:pt x="0" y="121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grpSp>
          <p:nvGrpSpPr>
            <p:cNvPr id="18" name="Group 123">
              <a:extLst>
                <a:ext uri="{FF2B5EF4-FFF2-40B4-BE49-F238E27FC236}">
                  <a16:creationId xmlns:a16="http://schemas.microsoft.com/office/drawing/2014/main" id="{A3BB2936-BB04-49C1-9170-9301631E298C}"/>
                </a:ext>
              </a:extLst>
            </p:cNvPr>
            <p:cNvGrpSpPr/>
            <p:nvPr/>
          </p:nvGrpSpPr>
          <p:grpSpPr>
            <a:xfrm>
              <a:off x="6952546" y="4315511"/>
              <a:ext cx="817351" cy="620552"/>
              <a:chOff x="7170738" y="4168775"/>
              <a:chExt cx="817563" cy="620713"/>
            </a:xfrm>
            <a:solidFill>
              <a:srgbClr val="00953A"/>
            </a:solidFill>
          </p:grpSpPr>
          <p:sp>
            <p:nvSpPr>
              <p:cNvPr id="100" name="Freeform 14">
                <a:extLst>
                  <a:ext uri="{FF2B5EF4-FFF2-40B4-BE49-F238E27FC236}">
                    <a16:creationId xmlns:a16="http://schemas.microsoft.com/office/drawing/2014/main" id="{8EA67531-16CA-49BF-94E5-6DDB877CC5B1}"/>
                  </a:ext>
                </a:extLst>
              </p:cNvPr>
              <p:cNvSpPr/>
              <p:nvPr/>
            </p:nvSpPr>
            <p:spPr bwMode="auto">
              <a:xfrm>
                <a:off x="7170738" y="4168775"/>
                <a:ext cx="785813" cy="354013"/>
              </a:xfrm>
              <a:custGeom>
                <a:avLst/>
                <a:gdLst>
                  <a:gd name="T0" fmla="*/ 246 w 495"/>
                  <a:gd name="T1" fmla="*/ 223 h 223"/>
                  <a:gd name="T2" fmla="*/ 0 w 495"/>
                  <a:gd name="T3" fmla="*/ 111 h 223"/>
                  <a:gd name="T4" fmla="*/ 252 w 495"/>
                  <a:gd name="T5" fmla="*/ 0 h 223"/>
                  <a:gd name="T6" fmla="*/ 495 w 495"/>
                  <a:gd name="T7" fmla="*/ 109 h 223"/>
                  <a:gd name="T8" fmla="*/ 246 w 495"/>
                  <a:gd name="T9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5" h="223">
                    <a:moveTo>
                      <a:pt x="246" y="223"/>
                    </a:moveTo>
                    <a:lnTo>
                      <a:pt x="0" y="111"/>
                    </a:lnTo>
                    <a:lnTo>
                      <a:pt x="252" y="0"/>
                    </a:lnTo>
                    <a:lnTo>
                      <a:pt x="495" y="109"/>
                    </a:lnTo>
                    <a:lnTo>
                      <a:pt x="246" y="2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101" name="Rectangle 15">
                <a:extLst>
                  <a:ext uri="{FF2B5EF4-FFF2-40B4-BE49-F238E27FC236}">
                    <a16:creationId xmlns:a16="http://schemas.microsoft.com/office/drawing/2014/main" id="{F3077EB2-5F10-4A44-A7E1-C74B551879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24800" y="4335463"/>
                <a:ext cx="23813" cy="2571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102" name="Oval 16">
                <a:extLst>
                  <a:ext uri="{FF2B5EF4-FFF2-40B4-BE49-F238E27FC236}">
                    <a16:creationId xmlns:a16="http://schemas.microsoft.com/office/drawing/2014/main" id="{6938F25C-1449-4AC2-B6F9-14DC25CCAF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7813" y="4564063"/>
                <a:ext cx="76200" cy="777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103" name="Freeform 17">
                <a:extLst>
                  <a:ext uri="{FF2B5EF4-FFF2-40B4-BE49-F238E27FC236}">
                    <a16:creationId xmlns:a16="http://schemas.microsoft.com/office/drawing/2014/main" id="{4D79B9F1-429F-4D6A-9317-2ADF0441150E}"/>
                  </a:ext>
                </a:extLst>
              </p:cNvPr>
              <p:cNvSpPr/>
              <p:nvPr/>
            </p:nvSpPr>
            <p:spPr bwMode="auto">
              <a:xfrm>
                <a:off x="7888288" y="4605338"/>
                <a:ext cx="55563" cy="171450"/>
              </a:xfrm>
              <a:custGeom>
                <a:avLst/>
                <a:gdLst>
                  <a:gd name="T0" fmla="*/ 14 w 26"/>
                  <a:gd name="T1" fmla="*/ 4 h 79"/>
                  <a:gd name="T2" fmla="*/ 6 w 26"/>
                  <a:gd name="T3" fmla="*/ 79 h 79"/>
                  <a:gd name="T4" fmla="*/ 26 w 26"/>
                  <a:gd name="T5" fmla="*/ 79 h 79"/>
                  <a:gd name="T6" fmla="*/ 26 w 26"/>
                  <a:gd name="T7" fmla="*/ 0 h 79"/>
                  <a:gd name="T8" fmla="*/ 14 w 26"/>
                  <a:gd name="T9" fmla="*/ 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79">
                    <a:moveTo>
                      <a:pt x="14" y="4"/>
                    </a:moveTo>
                    <a:cubicBezTo>
                      <a:pt x="14" y="4"/>
                      <a:pt x="0" y="34"/>
                      <a:pt x="6" y="79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14" y="7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104" name="Freeform 18">
                <a:extLst>
                  <a:ext uri="{FF2B5EF4-FFF2-40B4-BE49-F238E27FC236}">
                    <a16:creationId xmlns:a16="http://schemas.microsoft.com/office/drawing/2014/main" id="{A87E7EB0-95F2-47D5-8FB9-13D80E2F47EF}"/>
                  </a:ext>
                </a:extLst>
              </p:cNvPr>
              <p:cNvSpPr/>
              <p:nvPr/>
            </p:nvSpPr>
            <p:spPr bwMode="auto">
              <a:xfrm>
                <a:off x="7932738" y="4605338"/>
                <a:ext cx="55563" cy="171450"/>
              </a:xfrm>
              <a:custGeom>
                <a:avLst/>
                <a:gdLst>
                  <a:gd name="T0" fmla="*/ 11 w 25"/>
                  <a:gd name="T1" fmla="*/ 4 h 79"/>
                  <a:gd name="T2" fmla="*/ 20 w 25"/>
                  <a:gd name="T3" fmla="*/ 79 h 79"/>
                  <a:gd name="T4" fmla="*/ 0 w 25"/>
                  <a:gd name="T5" fmla="*/ 79 h 79"/>
                  <a:gd name="T6" fmla="*/ 0 w 25"/>
                  <a:gd name="T7" fmla="*/ 0 h 79"/>
                  <a:gd name="T8" fmla="*/ 11 w 25"/>
                  <a:gd name="T9" fmla="*/ 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79">
                    <a:moveTo>
                      <a:pt x="11" y="4"/>
                    </a:moveTo>
                    <a:cubicBezTo>
                      <a:pt x="11" y="4"/>
                      <a:pt x="25" y="34"/>
                      <a:pt x="20" y="79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1" y="7"/>
                      <a:pt x="1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105" name="Freeform 19">
                <a:extLst>
                  <a:ext uri="{FF2B5EF4-FFF2-40B4-BE49-F238E27FC236}">
                    <a16:creationId xmlns:a16="http://schemas.microsoft.com/office/drawing/2014/main" id="{B755D5CF-5B44-4B62-8392-E6B3CE26C6DD}"/>
                  </a:ext>
                </a:extLst>
              </p:cNvPr>
              <p:cNvSpPr/>
              <p:nvPr/>
            </p:nvSpPr>
            <p:spPr bwMode="auto">
              <a:xfrm>
                <a:off x="7327900" y="4449763"/>
                <a:ext cx="455613" cy="339725"/>
              </a:xfrm>
              <a:custGeom>
                <a:avLst/>
                <a:gdLst>
                  <a:gd name="T0" fmla="*/ 209 w 209"/>
                  <a:gd name="T1" fmla="*/ 0 h 156"/>
                  <a:gd name="T2" fmla="*/ 104 w 209"/>
                  <a:gd name="T3" fmla="*/ 49 h 156"/>
                  <a:gd name="T4" fmla="*/ 0 w 209"/>
                  <a:gd name="T5" fmla="*/ 0 h 156"/>
                  <a:gd name="T6" fmla="*/ 0 w 209"/>
                  <a:gd name="T7" fmla="*/ 120 h 156"/>
                  <a:gd name="T8" fmla="*/ 102 w 209"/>
                  <a:gd name="T9" fmla="*/ 156 h 156"/>
                  <a:gd name="T10" fmla="*/ 102 w 209"/>
                  <a:gd name="T11" fmla="*/ 156 h 156"/>
                  <a:gd name="T12" fmla="*/ 104 w 209"/>
                  <a:gd name="T13" fmla="*/ 156 h 156"/>
                  <a:gd name="T14" fmla="*/ 107 w 209"/>
                  <a:gd name="T15" fmla="*/ 156 h 156"/>
                  <a:gd name="T16" fmla="*/ 107 w 209"/>
                  <a:gd name="T17" fmla="*/ 156 h 156"/>
                  <a:gd name="T18" fmla="*/ 209 w 209"/>
                  <a:gd name="T19" fmla="*/ 120 h 156"/>
                  <a:gd name="T20" fmla="*/ 209 w 209"/>
                  <a:gd name="T21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9" h="156">
                    <a:moveTo>
                      <a:pt x="209" y="0"/>
                    </a:moveTo>
                    <a:cubicBezTo>
                      <a:pt x="209" y="1"/>
                      <a:pt x="121" y="41"/>
                      <a:pt x="104" y="49"/>
                    </a:cubicBezTo>
                    <a:cubicBezTo>
                      <a:pt x="87" y="41"/>
                      <a:pt x="0" y="1"/>
                      <a:pt x="0" y="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28" y="150"/>
                      <a:pt x="84" y="155"/>
                      <a:pt x="102" y="156"/>
                    </a:cubicBezTo>
                    <a:cubicBezTo>
                      <a:pt x="102" y="156"/>
                      <a:pt x="102" y="156"/>
                      <a:pt x="102" y="156"/>
                    </a:cubicBezTo>
                    <a:cubicBezTo>
                      <a:pt x="102" y="156"/>
                      <a:pt x="103" y="156"/>
                      <a:pt x="104" y="156"/>
                    </a:cubicBezTo>
                    <a:cubicBezTo>
                      <a:pt x="106" y="156"/>
                      <a:pt x="107" y="156"/>
                      <a:pt x="107" y="156"/>
                    </a:cubicBezTo>
                    <a:cubicBezTo>
                      <a:pt x="107" y="156"/>
                      <a:pt x="107" y="156"/>
                      <a:pt x="107" y="156"/>
                    </a:cubicBezTo>
                    <a:cubicBezTo>
                      <a:pt x="125" y="155"/>
                      <a:pt x="181" y="150"/>
                      <a:pt x="209" y="120"/>
                    </a:cubicBezTo>
                    <a:lnTo>
                      <a:pt x="20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</p:grp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B7F2A04B-1197-4756-9B24-68AB7490D7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7557" y="2197145"/>
              <a:ext cx="477713" cy="503107"/>
            </a:xfrm>
            <a:custGeom>
              <a:avLst/>
              <a:gdLst>
                <a:gd name="T0" fmla="*/ 168 w 219"/>
                <a:gd name="T1" fmla="*/ 224 h 231"/>
                <a:gd name="T2" fmla="*/ 197 w 219"/>
                <a:gd name="T3" fmla="*/ 212 h 231"/>
                <a:gd name="T4" fmla="*/ 168 w 219"/>
                <a:gd name="T5" fmla="*/ 132 h 231"/>
                <a:gd name="T6" fmla="*/ 168 w 219"/>
                <a:gd name="T7" fmla="*/ 150 h 231"/>
                <a:gd name="T8" fmla="*/ 192 w 219"/>
                <a:gd name="T9" fmla="*/ 190 h 231"/>
                <a:gd name="T10" fmla="*/ 168 w 219"/>
                <a:gd name="T11" fmla="*/ 209 h 231"/>
                <a:gd name="T12" fmla="*/ 168 w 219"/>
                <a:gd name="T13" fmla="*/ 224 h 231"/>
                <a:gd name="T14" fmla="*/ 168 w 219"/>
                <a:gd name="T15" fmla="*/ 203 h 231"/>
                <a:gd name="T16" fmla="*/ 168 w 219"/>
                <a:gd name="T17" fmla="*/ 157 h 231"/>
                <a:gd name="T18" fmla="*/ 181 w 219"/>
                <a:gd name="T19" fmla="*/ 187 h 231"/>
                <a:gd name="T20" fmla="*/ 168 w 219"/>
                <a:gd name="T21" fmla="*/ 203 h 231"/>
                <a:gd name="T22" fmla="*/ 146 w 219"/>
                <a:gd name="T23" fmla="*/ 112 h 231"/>
                <a:gd name="T24" fmla="*/ 141 w 219"/>
                <a:gd name="T25" fmla="*/ 98 h 231"/>
                <a:gd name="T26" fmla="*/ 141 w 219"/>
                <a:gd name="T27" fmla="*/ 44 h 231"/>
                <a:gd name="T28" fmla="*/ 146 w 219"/>
                <a:gd name="T29" fmla="*/ 37 h 231"/>
                <a:gd name="T30" fmla="*/ 148 w 219"/>
                <a:gd name="T31" fmla="*/ 37 h 231"/>
                <a:gd name="T32" fmla="*/ 148 w 219"/>
                <a:gd name="T33" fmla="*/ 14 h 231"/>
                <a:gd name="T34" fmla="*/ 146 w 219"/>
                <a:gd name="T35" fmla="*/ 14 h 231"/>
                <a:gd name="T36" fmla="*/ 146 w 219"/>
                <a:gd name="T37" fmla="*/ 13 h 231"/>
                <a:gd name="T38" fmla="*/ 114 w 219"/>
                <a:gd name="T39" fmla="*/ 0 h 231"/>
                <a:gd name="T40" fmla="*/ 81 w 219"/>
                <a:gd name="T41" fmla="*/ 13 h 231"/>
                <a:gd name="T42" fmla="*/ 81 w 219"/>
                <a:gd name="T43" fmla="*/ 14 h 231"/>
                <a:gd name="T44" fmla="*/ 80 w 219"/>
                <a:gd name="T45" fmla="*/ 14 h 231"/>
                <a:gd name="T46" fmla="*/ 80 w 219"/>
                <a:gd name="T47" fmla="*/ 37 h 231"/>
                <a:gd name="T48" fmla="*/ 81 w 219"/>
                <a:gd name="T49" fmla="*/ 37 h 231"/>
                <a:gd name="T50" fmla="*/ 90 w 219"/>
                <a:gd name="T51" fmla="*/ 45 h 231"/>
                <a:gd name="T52" fmla="*/ 90 w 219"/>
                <a:gd name="T53" fmla="*/ 98 h 231"/>
                <a:gd name="T54" fmla="*/ 83 w 219"/>
                <a:gd name="T55" fmla="*/ 112 h 231"/>
                <a:gd name="T56" fmla="*/ 31 w 219"/>
                <a:gd name="T57" fmla="*/ 212 h 231"/>
                <a:gd name="T58" fmla="*/ 114 w 219"/>
                <a:gd name="T59" fmla="*/ 230 h 231"/>
                <a:gd name="T60" fmla="*/ 168 w 219"/>
                <a:gd name="T61" fmla="*/ 224 h 231"/>
                <a:gd name="T62" fmla="*/ 168 w 219"/>
                <a:gd name="T63" fmla="*/ 209 h 231"/>
                <a:gd name="T64" fmla="*/ 144 w 219"/>
                <a:gd name="T65" fmla="*/ 212 h 231"/>
                <a:gd name="T66" fmla="*/ 144 w 219"/>
                <a:gd name="T67" fmla="*/ 212 h 231"/>
                <a:gd name="T68" fmla="*/ 168 w 219"/>
                <a:gd name="T69" fmla="*/ 203 h 231"/>
                <a:gd name="T70" fmla="*/ 168 w 219"/>
                <a:gd name="T71" fmla="*/ 157 h 231"/>
                <a:gd name="T72" fmla="*/ 149 w 219"/>
                <a:gd name="T73" fmla="*/ 134 h 231"/>
                <a:gd name="T74" fmla="*/ 168 w 219"/>
                <a:gd name="T75" fmla="*/ 150 h 231"/>
                <a:gd name="T76" fmla="*/ 168 w 219"/>
                <a:gd name="T77" fmla="*/ 132 h 231"/>
                <a:gd name="T78" fmla="*/ 146 w 219"/>
                <a:gd name="T79" fmla="*/ 1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9" h="231">
                  <a:moveTo>
                    <a:pt x="168" y="224"/>
                  </a:moveTo>
                  <a:cubicBezTo>
                    <a:pt x="179" y="221"/>
                    <a:pt x="189" y="217"/>
                    <a:pt x="197" y="212"/>
                  </a:cubicBezTo>
                  <a:cubicBezTo>
                    <a:pt x="219" y="196"/>
                    <a:pt x="191" y="157"/>
                    <a:pt x="168" y="132"/>
                  </a:cubicBezTo>
                  <a:cubicBezTo>
                    <a:pt x="168" y="150"/>
                    <a:pt x="168" y="150"/>
                    <a:pt x="168" y="150"/>
                  </a:cubicBezTo>
                  <a:cubicBezTo>
                    <a:pt x="180" y="162"/>
                    <a:pt x="193" y="177"/>
                    <a:pt x="192" y="190"/>
                  </a:cubicBezTo>
                  <a:cubicBezTo>
                    <a:pt x="192" y="201"/>
                    <a:pt x="180" y="207"/>
                    <a:pt x="168" y="209"/>
                  </a:cubicBezTo>
                  <a:cubicBezTo>
                    <a:pt x="168" y="224"/>
                    <a:pt x="168" y="224"/>
                    <a:pt x="168" y="224"/>
                  </a:cubicBezTo>
                  <a:close/>
                  <a:moveTo>
                    <a:pt x="168" y="203"/>
                  </a:moveTo>
                  <a:cubicBezTo>
                    <a:pt x="168" y="157"/>
                    <a:pt x="168" y="157"/>
                    <a:pt x="168" y="157"/>
                  </a:cubicBezTo>
                  <a:cubicBezTo>
                    <a:pt x="175" y="167"/>
                    <a:pt x="182" y="179"/>
                    <a:pt x="181" y="187"/>
                  </a:cubicBezTo>
                  <a:cubicBezTo>
                    <a:pt x="180" y="194"/>
                    <a:pt x="175" y="199"/>
                    <a:pt x="168" y="203"/>
                  </a:cubicBezTo>
                  <a:close/>
                  <a:moveTo>
                    <a:pt x="146" y="112"/>
                  </a:moveTo>
                  <a:cubicBezTo>
                    <a:pt x="146" y="112"/>
                    <a:pt x="141" y="109"/>
                    <a:pt x="141" y="98"/>
                  </a:cubicBezTo>
                  <a:cubicBezTo>
                    <a:pt x="141" y="90"/>
                    <a:pt x="141" y="56"/>
                    <a:pt x="141" y="44"/>
                  </a:cubicBezTo>
                  <a:cubicBezTo>
                    <a:pt x="144" y="43"/>
                    <a:pt x="146" y="40"/>
                    <a:pt x="146" y="37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6" y="14"/>
                    <a:pt x="146" y="14"/>
                    <a:pt x="146" y="14"/>
                  </a:cubicBezTo>
                  <a:cubicBezTo>
                    <a:pt x="146" y="14"/>
                    <a:pt x="146" y="13"/>
                    <a:pt x="146" y="13"/>
                  </a:cubicBezTo>
                  <a:cubicBezTo>
                    <a:pt x="146" y="6"/>
                    <a:pt x="132" y="0"/>
                    <a:pt x="114" y="0"/>
                  </a:cubicBezTo>
                  <a:cubicBezTo>
                    <a:pt x="95" y="0"/>
                    <a:pt x="81" y="6"/>
                    <a:pt x="81" y="13"/>
                  </a:cubicBezTo>
                  <a:cubicBezTo>
                    <a:pt x="81" y="13"/>
                    <a:pt x="81" y="14"/>
                    <a:pt x="81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1" y="40"/>
                    <a:pt x="84" y="43"/>
                    <a:pt x="90" y="45"/>
                  </a:cubicBezTo>
                  <a:cubicBezTo>
                    <a:pt x="90" y="56"/>
                    <a:pt x="90" y="90"/>
                    <a:pt x="90" y="98"/>
                  </a:cubicBezTo>
                  <a:cubicBezTo>
                    <a:pt x="90" y="109"/>
                    <a:pt x="83" y="112"/>
                    <a:pt x="83" y="112"/>
                  </a:cubicBezTo>
                  <a:cubicBezTo>
                    <a:pt x="71" y="119"/>
                    <a:pt x="0" y="190"/>
                    <a:pt x="31" y="212"/>
                  </a:cubicBezTo>
                  <a:cubicBezTo>
                    <a:pt x="58" y="231"/>
                    <a:pt x="105" y="230"/>
                    <a:pt x="114" y="230"/>
                  </a:cubicBezTo>
                  <a:cubicBezTo>
                    <a:pt x="121" y="230"/>
                    <a:pt x="145" y="230"/>
                    <a:pt x="168" y="224"/>
                  </a:cubicBezTo>
                  <a:cubicBezTo>
                    <a:pt x="168" y="209"/>
                    <a:pt x="168" y="209"/>
                    <a:pt x="168" y="209"/>
                  </a:cubicBezTo>
                  <a:cubicBezTo>
                    <a:pt x="156" y="212"/>
                    <a:pt x="144" y="212"/>
                    <a:pt x="144" y="212"/>
                  </a:cubicBezTo>
                  <a:cubicBezTo>
                    <a:pt x="144" y="212"/>
                    <a:pt x="144" y="212"/>
                    <a:pt x="144" y="212"/>
                  </a:cubicBezTo>
                  <a:cubicBezTo>
                    <a:pt x="144" y="212"/>
                    <a:pt x="158" y="210"/>
                    <a:pt x="168" y="203"/>
                  </a:cubicBezTo>
                  <a:cubicBezTo>
                    <a:pt x="168" y="157"/>
                    <a:pt x="168" y="157"/>
                    <a:pt x="168" y="157"/>
                  </a:cubicBezTo>
                  <a:cubicBezTo>
                    <a:pt x="159" y="144"/>
                    <a:pt x="149" y="134"/>
                    <a:pt x="149" y="134"/>
                  </a:cubicBezTo>
                  <a:cubicBezTo>
                    <a:pt x="149" y="134"/>
                    <a:pt x="158" y="141"/>
                    <a:pt x="168" y="150"/>
                  </a:cubicBezTo>
                  <a:cubicBezTo>
                    <a:pt x="168" y="132"/>
                    <a:pt x="168" y="132"/>
                    <a:pt x="168" y="132"/>
                  </a:cubicBezTo>
                  <a:cubicBezTo>
                    <a:pt x="159" y="122"/>
                    <a:pt x="150" y="114"/>
                    <a:pt x="146" y="112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0" name="Oval 21">
              <a:extLst>
                <a:ext uri="{FF2B5EF4-FFF2-40B4-BE49-F238E27FC236}">
                  <a16:creationId xmlns:a16="http://schemas.microsoft.com/office/drawing/2014/main" id="{A576167D-A18D-4C0A-B98E-EA2240E28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36351" y="2079700"/>
              <a:ext cx="141251" cy="141251"/>
            </a:xfrm>
            <a:prstGeom prst="ellipse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91DB7C79-1C50-45F6-A36F-2D29DFBD7819}"/>
                </a:ext>
              </a:extLst>
            </p:cNvPr>
            <p:cNvSpPr/>
            <p:nvPr/>
          </p:nvSpPr>
          <p:spPr bwMode="auto">
            <a:xfrm>
              <a:off x="9387136" y="2184448"/>
              <a:ext cx="222192" cy="463429"/>
            </a:xfrm>
            <a:custGeom>
              <a:avLst/>
              <a:gdLst>
                <a:gd name="T0" fmla="*/ 0 w 102"/>
                <a:gd name="T1" fmla="*/ 6 h 213"/>
                <a:gd name="T2" fmla="*/ 68 w 102"/>
                <a:gd name="T3" fmla="*/ 184 h 213"/>
                <a:gd name="T4" fmla="*/ 99 w 102"/>
                <a:gd name="T5" fmla="*/ 213 h 213"/>
                <a:gd name="T6" fmla="*/ 23 w 102"/>
                <a:gd name="T7" fmla="*/ 0 h 213"/>
                <a:gd name="T8" fmla="*/ 0 w 102"/>
                <a:gd name="T9" fmla="*/ 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13">
                  <a:moveTo>
                    <a:pt x="0" y="6"/>
                  </a:moveTo>
                  <a:cubicBezTo>
                    <a:pt x="0" y="7"/>
                    <a:pt x="68" y="184"/>
                    <a:pt x="68" y="184"/>
                  </a:cubicBezTo>
                  <a:cubicBezTo>
                    <a:pt x="68" y="184"/>
                    <a:pt x="96" y="213"/>
                    <a:pt x="99" y="213"/>
                  </a:cubicBezTo>
                  <a:cubicBezTo>
                    <a:pt x="102" y="213"/>
                    <a:pt x="23" y="0"/>
                    <a:pt x="23" y="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3B513BA8-146D-44CC-B3AC-861838A777D1}"/>
                </a:ext>
              </a:extLst>
            </p:cNvPr>
            <p:cNvSpPr/>
            <p:nvPr/>
          </p:nvSpPr>
          <p:spPr bwMode="auto">
            <a:xfrm>
              <a:off x="9191926" y="2184449"/>
              <a:ext cx="238063" cy="457081"/>
            </a:xfrm>
            <a:custGeom>
              <a:avLst/>
              <a:gdLst>
                <a:gd name="T0" fmla="*/ 149 w 150"/>
                <a:gd name="T1" fmla="*/ 14 h 288"/>
                <a:gd name="T2" fmla="*/ 40 w 150"/>
                <a:gd name="T3" fmla="*/ 248 h 288"/>
                <a:gd name="T4" fmla="*/ 0 w 150"/>
                <a:gd name="T5" fmla="*/ 288 h 288"/>
                <a:gd name="T6" fmla="*/ 11 w 150"/>
                <a:gd name="T7" fmla="*/ 233 h 288"/>
                <a:gd name="T8" fmla="*/ 117 w 150"/>
                <a:gd name="T9" fmla="*/ 0 h 288"/>
                <a:gd name="T10" fmla="*/ 150 w 150"/>
                <a:gd name="T11" fmla="*/ 11 h 288"/>
                <a:gd name="T12" fmla="*/ 149 w 150"/>
                <a:gd name="T13" fmla="*/ 1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88">
                  <a:moveTo>
                    <a:pt x="149" y="14"/>
                  </a:moveTo>
                  <a:lnTo>
                    <a:pt x="40" y="248"/>
                  </a:lnTo>
                  <a:lnTo>
                    <a:pt x="0" y="288"/>
                  </a:lnTo>
                  <a:lnTo>
                    <a:pt x="11" y="233"/>
                  </a:lnTo>
                  <a:lnTo>
                    <a:pt x="117" y="0"/>
                  </a:lnTo>
                  <a:lnTo>
                    <a:pt x="150" y="11"/>
                  </a:lnTo>
                  <a:lnTo>
                    <a:pt x="149" y="14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FFAEC002-FB06-47B8-9405-67B26499E289}"/>
                </a:ext>
              </a:extLst>
            </p:cNvPr>
            <p:cNvSpPr/>
            <p:nvPr/>
          </p:nvSpPr>
          <p:spPr bwMode="auto">
            <a:xfrm>
              <a:off x="9399834" y="2028913"/>
              <a:ext cx="25393" cy="79355"/>
            </a:xfrm>
            <a:custGeom>
              <a:avLst/>
              <a:gdLst>
                <a:gd name="T0" fmla="*/ 12 w 12"/>
                <a:gd name="T1" fmla="*/ 30 h 36"/>
                <a:gd name="T2" fmla="*/ 6 w 12"/>
                <a:gd name="T3" fmla="*/ 36 h 36"/>
                <a:gd name="T4" fmla="*/ 0 w 12"/>
                <a:gd name="T5" fmla="*/ 30 h 36"/>
                <a:gd name="T6" fmla="*/ 0 w 12"/>
                <a:gd name="T7" fmla="*/ 6 h 36"/>
                <a:gd name="T8" fmla="*/ 6 w 12"/>
                <a:gd name="T9" fmla="*/ 0 h 36"/>
                <a:gd name="T10" fmla="*/ 12 w 12"/>
                <a:gd name="T11" fmla="*/ 6 h 36"/>
                <a:gd name="T12" fmla="*/ 12 w 12"/>
                <a:gd name="T13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12" y="30"/>
                  </a:moveTo>
                  <a:cubicBezTo>
                    <a:pt x="12" y="33"/>
                    <a:pt x="10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lnTo>
                    <a:pt x="12" y="3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8D3D2620-E761-4B75-8BE2-0FA132F63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3481" y="1687692"/>
              <a:ext cx="225367" cy="609441"/>
            </a:xfrm>
            <a:custGeom>
              <a:avLst/>
              <a:gdLst>
                <a:gd name="T0" fmla="*/ 51 w 103"/>
                <a:gd name="T1" fmla="*/ 280 h 280"/>
                <a:gd name="T2" fmla="*/ 103 w 103"/>
                <a:gd name="T3" fmla="*/ 140 h 280"/>
                <a:gd name="T4" fmla="*/ 51 w 103"/>
                <a:gd name="T5" fmla="*/ 0 h 280"/>
                <a:gd name="T6" fmla="*/ 51 w 103"/>
                <a:gd name="T7" fmla="*/ 22 h 280"/>
                <a:gd name="T8" fmla="*/ 94 w 103"/>
                <a:gd name="T9" fmla="*/ 140 h 280"/>
                <a:gd name="T10" fmla="*/ 51 w 103"/>
                <a:gd name="T11" fmla="*/ 257 h 280"/>
                <a:gd name="T12" fmla="*/ 51 w 103"/>
                <a:gd name="T13" fmla="*/ 280 h 280"/>
                <a:gd name="T14" fmla="*/ 51 w 103"/>
                <a:gd name="T15" fmla="*/ 0 h 280"/>
                <a:gd name="T16" fmla="*/ 0 w 103"/>
                <a:gd name="T17" fmla="*/ 140 h 280"/>
                <a:gd name="T18" fmla="*/ 51 w 103"/>
                <a:gd name="T19" fmla="*/ 280 h 280"/>
                <a:gd name="T20" fmla="*/ 51 w 103"/>
                <a:gd name="T21" fmla="*/ 280 h 280"/>
                <a:gd name="T22" fmla="*/ 51 w 103"/>
                <a:gd name="T23" fmla="*/ 257 h 280"/>
                <a:gd name="T24" fmla="*/ 51 w 103"/>
                <a:gd name="T25" fmla="*/ 257 h 280"/>
                <a:gd name="T26" fmla="*/ 51 w 103"/>
                <a:gd name="T27" fmla="*/ 257 h 280"/>
                <a:gd name="T28" fmla="*/ 8 w 103"/>
                <a:gd name="T29" fmla="*/ 140 h 280"/>
                <a:gd name="T30" fmla="*/ 51 w 103"/>
                <a:gd name="T31" fmla="*/ 22 h 280"/>
                <a:gd name="T32" fmla="*/ 51 w 103"/>
                <a:gd name="T33" fmla="*/ 22 h 280"/>
                <a:gd name="T34" fmla="*/ 51 w 103"/>
                <a:gd name="T3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280">
                  <a:moveTo>
                    <a:pt x="51" y="280"/>
                  </a:moveTo>
                  <a:cubicBezTo>
                    <a:pt x="80" y="280"/>
                    <a:pt x="103" y="217"/>
                    <a:pt x="103" y="140"/>
                  </a:cubicBezTo>
                  <a:cubicBezTo>
                    <a:pt x="103" y="62"/>
                    <a:pt x="80" y="0"/>
                    <a:pt x="51" y="0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75" y="22"/>
                    <a:pt x="94" y="75"/>
                    <a:pt x="94" y="140"/>
                  </a:cubicBezTo>
                  <a:cubicBezTo>
                    <a:pt x="94" y="204"/>
                    <a:pt x="75" y="257"/>
                    <a:pt x="51" y="257"/>
                  </a:cubicBezTo>
                  <a:lnTo>
                    <a:pt x="51" y="280"/>
                  </a:lnTo>
                  <a:close/>
                  <a:moveTo>
                    <a:pt x="51" y="0"/>
                  </a:moveTo>
                  <a:cubicBezTo>
                    <a:pt x="23" y="0"/>
                    <a:pt x="0" y="62"/>
                    <a:pt x="0" y="140"/>
                  </a:cubicBezTo>
                  <a:cubicBezTo>
                    <a:pt x="0" y="217"/>
                    <a:pt x="23" y="280"/>
                    <a:pt x="51" y="280"/>
                  </a:cubicBezTo>
                  <a:cubicBezTo>
                    <a:pt x="51" y="280"/>
                    <a:pt x="51" y="280"/>
                    <a:pt x="51" y="280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27" y="257"/>
                    <a:pt x="8" y="204"/>
                    <a:pt x="8" y="140"/>
                  </a:cubicBezTo>
                  <a:cubicBezTo>
                    <a:pt x="8" y="75"/>
                    <a:pt x="27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0"/>
                    <a:pt x="51" y="0"/>
                    <a:pt x="51" y="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4618AE8E-8E0D-4CE7-A32D-0744F4B3DE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855" y="1879727"/>
              <a:ext cx="611029" cy="223780"/>
            </a:xfrm>
            <a:custGeom>
              <a:avLst/>
              <a:gdLst>
                <a:gd name="T0" fmla="*/ 280 w 280"/>
                <a:gd name="T1" fmla="*/ 52 h 103"/>
                <a:gd name="T2" fmla="*/ 140 w 280"/>
                <a:gd name="T3" fmla="*/ 0 h 103"/>
                <a:gd name="T4" fmla="*/ 140 w 280"/>
                <a:gd name="T5" fmla="*/ 8 h 103"/>
                <a:gd name="T6" fmla="*/ 257 w 280"/>
                <a:gd name="T7" fmla="*/ 52 h 103"/>
                <a:gd name="T8" fmla="*/ 140 w 280"/>
                <a:gd name="T9" fmla="*/ 95 h 103"/>
                <a:gd name="T10" fmla="*/ 140 w 280"/>
                <a:gd name="T11" fmla="*/ 103 h 103"/>
                <a:gd name="T12" fmla="*/ 280 w 280"/>
                <a:gd name="T13" fmla="*/ 52 h 103"/>
                <a:gd name="T14" fmla="*/ 140 w 280"/>
                <a:gd name="T15" fmla="*/ 0 h 103"/>
                <a:gd name="T16" fmla="*/ 140 w 280"/>
                <a:gd name="T17" fmla="*/ 0 h 103"/>
                <a:gd name="T18" fmla="*/ 0 w 280"/>
                <a:gd name="T19" fmla="*/ 52 h 103"/>
                <a:gd name="T20" fmla="*/ 140 w 280"/>
                <a:gd name="T21" fmla="*/ 103 h 103"/>
                <a:gd name="T22" fmla="*/ 140 w 280"/>
                <a:gd name="T23" fmla="*/ 103 h 103"/>
                <a:gd name="T24" fmla="*/ 140 w 280"/>
                <a:gd name="T25" fmla="*/ 95 h 103"/>
                <a:gd name="T26" fmla="*/ 140 w 280"/>
                <a:gd name="T27" fmla="*/ 95 h 103"/>
                <a:gd name="T28" fmla="*/ 23 w 280"/>
                <a:gd name="T29" fmla="*/ 52 h 103"/>
                <a:gd name="T30" fmla="*/ 23 w 280"/>
                <a:gd name="T31" fmla="*/ 52 h 103"/>
                <a:gd name="T32" fmla="*/ 140 w 280"/>
                <a:gd name="T33" fmla="*/ 8 h 103"/>
                <a:gd name="T34" fmla="*/ 140 w 280"/>
                <a:gd name="T35" fmla="*/ 8 h 103"/>
                <a:gd name="T36" fmla="*/ 140 w 280"/>
                <a:gd name="T3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0" h="103">
                  <a:moveTo>
                    <a:pt x="280" y="52"/>
                  </a:moveTo>
                  <a:cubicBezTo>
                    <a:pt x="280" y="23"/>
                    <a:pt x="217" y="0"/>
                    <a:pt x="140" y="0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205" y="8"/>
                    <a:pt x="257" y="28"/>
                    <a:pt x="257" y="52"/>
                  </a:cubicBezTo>
                  <a:cubicBezTo>
                    <a:pt x="257" y="75"/>
                    <a:pt x="205" y="95"/>
                    <a:pt x="140" y="95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217" y="103"/>
                    <a:pt x="280" y="80"/>
                    <a:pt x="280" y="52"/>
                  </a:cubicBezTo>
                  <a:close/>
                  <a:moveTo>
                    <a:pt x="14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63" y="0"/>
                    <a:pt x="0" y="23"/>
                    <a:pt x="0" y="52"/>
                  </a:cubicBezTo>
                  <a:cubicBezTo>
                    <a:pt x="0" y="80"/>
                    <a:pt x="63" y="103"/>
                    <a:pt x="140" y="103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75" y="95"/>
                    <a:pt x="23" y="75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28"/>
                    <a:pt x="75" y="8"/>
                    <a:pt x="140" y="8"/>
                  </a:cubicBezTo>
                  <a:cubicBezTo>
                    <a:pt x="140" y="8"/>
                    <a:pt x="140" y="8"/>
                    <a:pt x="140" y="8"/>
                  </a:cubicBezTo>
                  <a:lnTo>
                    <a:pt x="140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072C0305-2C2B-49D3-B8E2-C3CD036EB7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881" y="1741653"/>
              <a:ext cx="518977" cy="498345"/>
            </a:xfrm>
            <a:custGeom>
              <a:avLst/>
              <a:gdLst>
                <a:gd name="T0" fmla="*/ 218 w 238"/>
                <a:gd name="T1" fmla="*/ 16 h 229"/>
                <a:gd name="T2" fmla="*/ 119 w 238"/>
                <a:gd name="T3" fmla="*/ 46 h 229"/>
                <a:gd name="T4" fmla="*/ 119 w 238"/>
                <a:gd name="T5" fmla="*/ 57 h 229"/>
                <a:gd name="T6" fmla="*/ 202 w 238"/>
                <a:gd name="T7" fmla="*/ 32 h 229"/>
                <a:gd name="T8" fmla="*/ 150 w 238"/>
                <a:gd name="T9" fmla="*/ 145 h 229"/>
                <a:gd name="T10" fmla="*/ 119 w 238"/>
                <a:gd name="T11" fmla="*/ 172 h 229"/>
                <a:gd name="T12" fmla="*/ 119 w 238"/>
                <a:gd name="T13" fmla="*/ 183 h 229"/>
                <a:gd name="T14" fmla="*/ 156 w 238"/>
                <a:gd name="T15" fmla="*/ 151 h 229"/>
                <a:gd name="T16" fmla="*/ 218 w 238"/>
                <a:gd name="T17" fmla="*/ 16 h 229"/>
                <a:gd name="T18" fmla="*/ 119 w 238"/>
                <a:gd name="T19" fmla="*/ 46 h 229"/>
                <a:gd name="T20" fmla="*/ 83 w 238"/>
                <a:gd name="T21" fmla="*/ 78 h 229"/>
                <a:gd name="T22" fmla="*/ 20 w 238"/>
                <a:gd name="T23" fmla="*/ 214 h 229"/>
                <a:gd name="T24" fmla="*/ 119 w 238"/>
                <a:gd name="T25" fmla="*/ 183 h 229"/>
                <a:gd name="T26" fmla="*/ 119 w 238"/>
                <a:gd name="T27" fmla="*/ 172 h 229"/>
                <a:gd name="T28" fmla="*/ 36 w 238"/>
                <a:gd name="T29" fmla="*/ 197 h 229"/>
                <a:gd name="T30" fmla="*/ 36 w 238"/>
                <a:gd name="T31" fmla="*/ 197 h 229"/>
                <a:gd name="T32" fmla="*/ 89 w 238"/>
                <a:gd name="T33" fmla="*/ 84 h 229"/>
                <a:gd name="T34" fmla="*/ 119 w 238"/>
                <a:gd name="T35" fmla="*/ 57 h 229"/>
                <a:gd name="T36" fmla="*/ 119 w 238"/>
                <a:gd name="T37" fmla="*/ 4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8" h="229">
                  <a:moveTo>
                    <a:pt x="218" y="16"/>
                  </a:moveTo>
                  <a:cubicBezTo>
                    <a:pt x="202" y="0"/>
                    <a:pt x="162" y="13"/>
                    <a:pt x="119" y="46"/>
                  </a:cubicBezTo>
                  <a:cubicBezTo>
                    <a:pt x="119" y="57"/>
                    <a:pt x="119" y="57"/>
                    <a:pt x="119" y="57"/>
                  </a:cubicBezTo>
                  <a:cubicBezTo>
                    <a:pt x="155" y="30"/>
                    <a:pt x="189" y="19"/>
                    <a:pt x="202" y="32"/>
                  </a:cubicBezTo>
                  <a:cubicBezTo>
                    <a:pt x="219" y="49"/>
                    <a:pt x="195" y="99"/>
                    <a:pt x="150" y="145"/>
                  </a:cubicBezTo>
                  <a:cubicBezTo>
                    <a:pt x="140" y="155"/>
                    <a:pt x="129" y="164"/>
                    <a:pt x="119" y="172"/>
                  </a:cubicBezTo>
                  <a:cubicBezTo>
                    <a:pt x="119" y="183"/>
                    <a:pt x="119" y="183"/>
                    <a:pt x="119" y="183"/>
                  </a:cubicBezTo>
                  <a:cubicBezTo>
                    <a:pt x="131" y="174"/>
                    <a:pt x="144" y="163"/>
                    <a:pt x="156" y="151"/>
                  </a:cubicBezTo>
                  <a:cubicBezTo>
                    <a:pt x="210" y="96"/>
                    <a:pt x="238" y="36"/>
                    <a:pt x="218" y="16"/>
                  </a:cubicBezTo>
                  <a:close/>
                  <a:moveTo>
                    <a:pt x="119" y="46"/>
                  </a:moveTo>
                  <a:cubicBezTo>
                    <a:pt x="107" y="55"/>
                    <a:pt x="95" y="66"/>
                    <a:pt x="83" y="78"/>
                  </a:cubicBezTo>
                  <a:cubicBezTo>
                    <a:pt x="28" y="133"/>
                    <a:pt x="0" y="193"/>
                    <a:pt x="20" y="214"/>
                  </a:cubicBezTo>
                  <a:cubicBezTo>
                    <a:pt x="36" y="229"/>
                    <a:pt x="76" y="216"/>
                    <a:pt x="119" y="183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83" y="199"/>
                    <a:pt x="49" y="211"/>
                    <a:pt x="36" y="197"/>
                  </a:cubicBezTo>
                  <a:cubicBezTo>
                    <a:pt x="36" y="197"/>
                    <a:pt x="36" y="197"/>
                    <a:pt x="36" y="197"/>
                  </a:cubicBezTo>
                  <a:cubicBezTo>
                    <a:pt x="19" y="181"/>
                    <a:pt x="43" y="130"/>
                    <a:pt x="89" y="84"/>
                  </a:cubicBezTo>
                  <a:cubicBezTo>
                    <a:pt x="99" y="74"/>
                    <a:pt x="109" y="65"/>
                    <a:pt x="119" y="57"/>
                  </a:cubicBezTo>
                  <a:lnTo>
                    <a:pt x="119" y="46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A4A8C25D-3435-4D1D-95B8-B027457EA7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881" y="1741653"/>
              <a:ext cx="518977" cy="498345"/>
            </a:xfrm>
            <a:custGeom>
              <a:avLst/>
              <a:gdLst>
                <a:gd name="T0" fmla="*/ 218 w 238"/>
                <a:gd name="T1" fmla="*/ 214 h 229"/>
                <a:gd name="T2" fmla="*/ 156 w 238"/>
                <a:gd name="T3" fmla="*/ 78 h 229"/>
                <a:gd name="T4" fmla="*/ 119 w 238"/>
                <a:gd name="T5" fmla="*/ 46 h 229"/>
                <a:gd name="T6" fmla="*/ 119 w 238"/>
                <a:gd name="T7" fmla="*/ 57 h 229"/>
                <a:gd name="T8" fmla="*/ 150 w 238"/>
                <a:gd name="T9" fmla="*/ 84 h 229"/>
                <a:gd name="T10" fmla="*/ 202 w 238"/>
                <a:gd name="T11" fmla="*/ 197 h 229"/>
                <a:gd name="T12" fmla="*/ 119 w 238"/>
                <a:gd name="T13" fmla="*/ 172 h 229"/>
                <a:gd name="T14" fmla="*/ 119 w 238"/>
                <a:gd name="T15" fmla="*/ 183 h 229"/>
                <a:gd name="T16" fmla="*/ 218 w 238"/>
                <a:gd name="T17" fmla="*/ 214 h 229"/>
                <a:gd name="T18" fmla="*/ 119 w 238"/>
                <a:gd name="T19" fmla="*/ 46 h 229"/>
                <a:gd name="T20" fmla="*/ 20 w 238"/>
                <a:gd name="T21" fmla="*/ 16 h 229"/>
                <a:gd name="T22" fmla="*/ 83 w 238"/>
                <a:gd name="T23" fmla="*/ 151 h 229"/>
                <a:gd name="T24" fmla="*/ 119 w 238"/>
                <a:gd name="T25" fmla="*/ 183 h 229"/>
                <a:gd name="T26" fmla="*/ 119 w 238"/>
                <a:gd name="T27" fmla="*/ 172 h 229"/>
                <a:gd name="T28" fmla="*/ 89 w 238"/>
                <a:gd name="T29" fmla="*/ 145 h 229"/>
                <a:gd name="T30" fmla="*/ 36 w 238"/>
                <a:gd name="T31" fmla="*/ 32 h 229"/>
                <a:gd name="T32" fmla="*/ 36 w 238"/>
                <a:gd name="T33" fmla="*/ 32 h 229"/>
                <a:gd name="T34" fmla="*/ 119 w 238"/>
                <a:gd name="T35" fmla="*/ 57 h 229"/>
                <a:gd name="T36" fmla="*/ 119 w 238"/>
                <a:gd name="T37" fmla="*/ 4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8" h="229">
                  <a:moveTo>
                    <a:pt x="218" y="214"/>
                  </a:moveTo>
                  <a:cubicBezTo>
                    <a:pt x="238" y="193"/>
                    <a:pt x="210" y="133"/>
                    <a:pt x="156" y="78"/>
                  </a:cubicBezTo>
                  <a:cubicBezTo>
                    <a:pt x="144" y="66"/>
                    <a:pt x="131" y="55"/>
                    <a:pt x="119" y="46"/>
                  </a:cubicBezTo>
                  <a:cubicBezTo>
                    <a:pt x="119" y="57"/>
                    <a:pt x="119" y="57"/>
                    <a:pt x="119" y="57"/>
                  </a:cubicBezTo>
                  <a:cubicBezTo>
                    <a:pt x="129" y="65"/>
                    <a:pt x="140" y="74"/>
                    <a:pt x="150" y="84"/>
                  </a:cubicBezTo>
                  <a:cubicBezTo>
                    <a:pt x="195" y="130"/>
                    <a:pt x="219" y="181"/>
                    <a:pt x="202" y="197"/>
                  </a:cubicBezTo>
                  <a:cubicBezTo>
                    <a:pt x="189" y="211"/>
                    <a:pt x="155" y="199"/>
                    <a:pt x="119" y="172"/>
                  </a:cubicBezTo>
                  <a:cubicBezTo>
                    <a:pt x="119" y="183"/>
                    <a:pt x="119" y="183"/>
                    <a:pt x="119" y="183"/>
                  </a:cubicBezTo>
                  <a:cubicBezTo>
                    <a:pt x="162" y="216"/>
                    <a:pt x="202" y="229"/>
                    <a:pt x="218" y="214"/>
                  </a:cubicBezTo>
                  <a:close/>
                  <a:moveTo>
                    <a:pt x="119" y="46"/>
                  </a:moveTo>
                  <a:cubicBezTo>
                    <a:pt x="76" y="13"/>
                    <a:pt x="36" y="0"/>
                    <a:pt x="20" y="16"/>
                  </a:cubicBezTo>
                  <a:cubicBezTo>
                    <a:pt x="0" y="36"/>
                    <a:pt x="28" y="96"/>
                    <a:pt x="83" y="151"/>
                  </a:cubicBezTo>
                  <a:cubicBezTo>
                    <a:pt x="95" y="163"/>
                    <a:pt x="107" y="174"/>
                    <a:pt x="119" y="183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09" y="164"/>
                    <a:pt x="99" y="155"/>
                    <a:pt x="89" y="145"/>
                  </a:cubicBezTo>
                  <a:cubicBezTo>
                    <a:pt x="43" y="99"/>
                    <a:pt x="19" y="49"/>
                    <a:pt x="36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9" y="19"/>
                    <a:pt x="83" y="30"/>
                    <a:pt x="119" y="57"/>
                  </a:cubicBezTo>
                  <a:lnTo>
                    <a:pt x="119" y="46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8" name="Oval 29">
              <a:extLst>
                <a:ext uri="{FF2B5EF4-FFF2-40B4-BE49-F238E27FC236}">
                  <a16:creationId xmlns:a16="http://schemas.microsoft.com/office/drawing/2014/main" id="{05445B89-B847-4920-BA0A-FD67B7276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138" y="1944799"/>
              <a:ext cx="93639" cy="93639"/>
            </a:xfrm>
            <a:prstGeom prst="ellipse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AF39430C-A077-4C2C-94A3-A4519E7250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49087" y="1514698"/>
              <a:ext cx="257108" cy="487236"/>
            </a:xfrm>
            <a:custGeom>
              <a:avLst/>
              <a:gdLst>
                <a:gd name="T0" fmla="*/ 67 w 162"/>
                <a:gd name="T1" fmla="*/ 307 h 307"/>
                <a:gd name="T2" fmla="*/ 162 w 162"/>
                <a:gd name="T3" fmla="*/ 307 h 307"/>
                <a:gd name="T4" fmla="*/ 67 w 162"/>
                <a:gd name="T5" fmla="*/ 127 h 307"/>
                <a:gd name="T6" fmla="*/ 67 w 162"/>
                <a:gd name="T7" fmla="*/ 193 h 307"/>
                <a:gd name="T8" fmla="*/ 110 w 162"/>
                <a:gd name="T9" fmla="*/ 267 h 307"/>
                <a:gd name="T10" fmla="*/ 67 w 162"/>
                <a:gd name="T11" fmla="*/ 267 h 307"/>
                <a:gd name="T12" fmla="*/ 67 w 162"/>
                <a:gd name="T13" fmla="*/ 307 h 307"/>
                <a:gd name="T14" fmla="*/ 0 w 162"/>
                <a:gd name="T15" fmla="*/ 0 h 307"/>
                <a:gd name="T16" fmla="*/ 0 w 162"/>
                <a:gd name="T17" fmla="*/ 307 h 307"/>
                <a:gd name="T18" fmla="*/ 67 w 162"/>
                <a:gd name="T19" fmla="*/ 307 h 307"/>
                <a:gd name="T20" fmla="*/ 67 w 162"/>
                <a:gd name="T21" fmla="*/ 267 h 307"/>
                <a:gd name="T22" fmla="*/ 24 w 162"/>
                <a:gd name="T23" fmla="*/ 267 h 307"/>
                <a:gd name="T24" fmla="*/ 24 w 162"/>
                <a:gd name="T25" fmla="*/ 120 h 307"/>
                <a:gd name="T26" fmla="*/ 24 w 162"/>
                <a:gd name="T27" fmla="*/ 120 h 307"/>
                <a:gd name="T28" fmla="*/ 67 w 162"/>
                <a:gd name="T29" fmla="*/ 193 h 307"/>
                <a:gd name="T30" fmla="*/ 67 w 162"/>
                <a:gd name="T31" fmla="*/ 127 h 307"/>
                <a:gd name="T32" fmla="*/ 0 w 162"/>
                <a:gd name="T33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2" h="307">
                  <a:moveTo>
                    <a:pt x="67" y="307"/>
                  </a:moveTo>
                  <a:lnTo>
                    <a:pt x="162" y="307"/>
                  </a:lnTo>
                  <a:lnTo>
                    <a:pt x="67" y="127"/>
                  </a:lnTo>
                  <a:lnTo>
                    <a:pt x="67" y="193"/>
                  </a:lnTo>
                  <a:lnTo>
                    <a:pt x="110" y="267"/>
                  </a:lnTo>
                  <a:lnTo>
                    <a:pt x="67" y="267"/>
                  </a:lnTo>
                  <a:lnTo>
                    <a:pt x="67" y="307"/>
                  </a:lnTo>
                  <a:close/>
                  <a:moveTo>
                    <a:pt x="0" y="0"/>
                  </a:moveTo>
                  <a:lnTo>
                    <a:pt x="0" y="307"/>
                  </a:lnTo>
                  <a:lnTo>
                    <a:pt x="67" y="307"/>
                  </a:lnTo>
                  <a:lnTo>
                    <a:pt x="67" y="267"/>
                  </a:lnTo>
                  <a:lnTo>
                    <a:pt x="24" y="267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67" y="193"/>
                  </a:lnTo>
                  <a:lnTo>
                    <a:pt x="67" y="1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0" name="Rectangle 31">
              <a:extLst>
                <a:ext uri="{FF2B5EF4-FFF2-40B4-BE49-F238E27FC236}">
                  <a16:creationId xmlns:a16="http://schemas.microsoft.com/office/drawing/2014/main" id="{846427A0-763E-4BDF-954E-1E38E9C19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0534" y="1513111"/>
              <a:ext cx="65071" cy="474540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9CC79AFB-A5E5-468C-8D25-7133641435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883" y="3903264"/>
              <a:ext cx="561829" cy="411056"/>
            </a:xfrm>
            <a:custGeom>
              <a:avLst/>
              <a:gdLst>
                <a:gd name="T0" fmla="*/ 213 w 258"/>
                <a:gd name="T1" fmla="*/ 31 h 189"/>
                <a:gd name="T2" fmla="*/ 204 w 258"/>
                <a:gd name="T3" fmla="*/ 69 h 189"/>
                <a:gd name="T4" fmla="*/ 228 w 258"/>
                <a:gd name="T5" fmla="*/ 109 h 189"/>
                <a:gd name="T6" fmla="*/ 204 w 258"/>
                <a:gd name="T7" fmla="*/ 146 h 189"/>
                <a:gd name="T8" fmla="*/ 204 w 258"/>
                <a:gd name="T9" fmla="*/ 27 h 189"/>
                <a:gd name="T10" fmla="*/ 91 w 258"/>
                <a:gd name="T11" fmla="*/ 14 h 189"/>
                <a:gd name="T12" fmla="*/ 97 w 258"/>
                <a:gd name="T13" fmla="*/ 15 h 189"/>
                <a:gd name="T14" fmla="*/ 91 w 258"/>
                <a:gd name="T15" fmla="*/ 42 h 189"/>
                <a:gd name="T16" fmla="*/ 91 w 258"/>
                <a:gd name="T17" fmla="*/ 162 h 189"/>
                <a:gd name="T18" fmla="*/ 166 w 258"/>
                <a:gd name="T19" fmla="*/ 145 h 189"/>
                <a:gd name="T20" fmla="*/ 204 w 258"/>
                <a:gd name="T21" fmla="*/ 125 h 189"/>
                <a:gd name="T22" fmla="*/ 191 w 258"/>
                <a:gd name="T23" fmla="*/ 122 h 189"/>
                <a:gd name="T24" fmla="*/ 204 w 258"/>
                <a:gd name="T25" fmla="*/ 69 h 189"/>
                <a:gd name="T26" fmla="*/ 91 w 258"/>
                <a:gd name="T27" fmla="*/ 6 h 189"/>
                <a:gd name="T28" fmla="*/ 78 w 258"/>
                <a:gd name="T29" fmla="*/ 24 h 189"/>
                <a:gd name="T30" fmla="*/ 91 w 258"/>
                <a:gd name="T31" fmla="*/ 14 h 189"/>
                <a:gd name="T32" fmla="*/ 78 w 258"/>
                <a:gd name="T33" fmla="*/ 188 h 189"/>
                <a:gd name="T34" fmla="*/ 91 w 258"/>
                <a:gd name="T35" fmla="*/ 162 h 189"/>
                <a:gd name="T36" fmla="*/ 78 w 258"/>
                <a:gd name="T37" fmla="*/ 176 h 189"/>
                <a:gd name="T38" fmla="*/ 91 w 258"/>
                <a:gd name="T39" fmla="*/ 42 h 189"/>
                <a:gd name="T40" fmla="*/ 80 w 258"/>
                <a:gd name="T41" fmla="*/ 134 h 189"/>
                <a:gd name="T42" fmla="*/ 78 w 258"/>
                <a:gd name="T43" fmla="*/ 64 h 189"/>
                <a:gd name="T44" fmla="*/ 78 w 258"/>
                <a:gd name="T45" fmla="*/ 33 h 189"/>
                <a:gd name="T46" fmla="*/ 91 w 258"/>
                <a:gd name="T47" fmla="*/ 42 h 189"/>
                <a:gd name="T48" fmla="*/ 60 w 258"/>
                <a:gd name="T49" fmla="*/ 18 h 189"/>
                <a:gd name="T50" fmla="*/ 68 w 258"/>
                <a:gd name="T51" fmla="*/ 42 h 189"/>
                <a:gd name="T52" fmla="*/ 78 w 258"/>
                <a:gd name="T53" fmla="*/ 33 h 189"/>
                <a:gd name="T54" fmla="*/ 78 w 258"/>
                <a:gd name="T55" fmla="*/ 9 h 189"/>
                <a:gd name="T56" fmla="*/ 78 w 258"/>
                <a:gd name="T57" fmla="*/ 188 h 189"/>
                <a:gd name="T58" fmla="*/ 60 w 258"/>
                <a:gd name="T59" fmla="*/ 176 h 189"/>
                <a:gd name="T60" fmla="*/ 78 w 258"/>
                <a:gd name="T61" fmla="*/ 64 h 189"/>
                <a:gd name="T62" fmla="*/ 60 w 258"/>
                <a:gd name="T63" fmla="*/ 134 h 189"/>
                <a:gd name="T64" fmla="*/ 70 w 258"/>
                <a:gd name="T65" fmla="*/ 116 h 189"/>
                <a:gd name="T66" fmla="*/ 60 w 258"/>
                <a:gd name="T67" fmla="*/ 87 h 189"/>
                <a:gd name="T68" fmla="*/ 76 w 258"/>
                <a:gd name="T69" fmla="*/ 68 h 189"/>
                <a:gd name="T70" fmla="*/ 60 w 258"/>
                <a:gd name="T71" fmla="*/ 18 h 189"/>
                <a:gd name="T72" fmla="*/ 60 w 258"/>
                <a:gd name="T73" fmla="*/ 187 h 189"/>
                <a:gd name="T74" fmla="*/ 59 w 258"/>
                <a:gd name="T75" fmla="*/ 175 h 189"/>
                <a:gd name="T76" fmla="*/ 49 w 258"/>
                <a:gd name="T77" fmla="*/ 144 h 189"/>
                <a:gd name="T78" fmla="*/ 60 w 258"/>
                <a:gd name="T79" fmla="*/ 125 h 189"/>
                <a:gd name="T80" fmla="*/ 41 w 258"/>
                <a:gd name="T81" fmla="*/ 125 h 189"/>
                <a:gd name="T82" fmla="*/ 60 w 258"/>
                <a:gd name="T83" fmla="*/ 87 h 189"/>
                <a:gd name="T84" fmla="*/ 51 w 258"/>
                <a:gd name="T85" fmla="*/ 76 h 189"/>
                <a:gd name="T86" fmla="*/ 43 w 258"/>
                <a:gd name="T87" fmla="*/ 51 h 189"/>
                <a:gd name="T88" fmla="*/ 60 w 258"/>
                <a:gd name="T89" fmla="*/ 1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8" h="189">
                  <a:moveTo>
                    <a:pt x="253" y="104"/>
                  </a:moveTo>
                  <a:cubicBezTo>
                    <a:pt x="258" y="60"/>
                    <a:pt x="213" y="31"/>
                    <a:pt x="213" y="31"/>
                  </a:cubicBezTo>
                  <a:cubicBezTo>
                    <a:pt x="210" y="30"/>
                    <a:pt x="207" y="28"/>
                    <a:pt x="204" y="27"/>
                  </a:cubicBezTo>
                  <a:cubicBezTo>
                    <a:pt x="204" y="69"/>
                    <a:pt x="204" y="69"/>
                    <a:pt x="204" y="69"/>
                  </a:cubicBezTo>
                  <a:cubicBezTo>
                    <a:pt x="208" y="69"/>
                    <a:pt x="212" y="70"/>
                    <a:pt x="216" y="72"/>
                  </a:cubicBezTo>
                  <a:cubicBezTo>
                    <a:pt x="230" y="79"/>
                    <a:pt x="235" y="95"/>
                    <a:pt x="228" y="109"/>
                  </a:cubicBezTo>
                  <a:cubicBezTo>
                    <a:pt x="224" y="119"/>
                    <a:pt x="214" y="125"/>
                    <a:pt x="204" y="125"/>
                  </a:cubicBezTo>
                  <a:cubicBezTo>
                    <a:pt x="204" y="146"/>
                    <a:pt x="204" y="146"/>
                    <a:pt x="204" y="146"/>
                  </a:cubicBezTo>
                  <a:cubicBezTo>
                    <a:pt x="230" y="144"/>
                    <a:pt x="249" y="134"/>
                    <a:pt x="253" y="104"/>
                  </a:cubicBezTo>
                  <a:close/>
                  <a:moveTo>
                    <a:pt x="204" y="27"/>
                  </a:moveTo>
                  <a:cubicBezTo>
                    <a:pt x="156" y="5"/>
                    <a:pt x="119" y="0"/>
                    <a:pt x="91" y="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3" y="14"/>
                    <a:pt x="95" y="14"/>
                    <a:pt x="97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104" y="19"/>
                    <a:pt x="107" y="27"/>
                    <a:pt x="103" y="34"/>
                  </a:cubicBezTo>
                  <a:cubicBezTo>
                    <a:pt x="101" y="39"/>
                    <a:pt x="96" y="42"/>
                    <a:pt x="91" y="42"/>
                  </a:cubicBezTo>
                  <a:cubicBezTo>
                    <a:pt x="91" y="146"/>
                    <a:pt x="91" y="146"/>
                    <a:pt x="91" y="146"/>
                  </a:cubicBezTo>
                  <a:cubicBezTo>
                    <a:pt x="93" y="151"/>
                    <a:pt x="93" y="157"/>
                    <a:pt x="91" y="162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117" y="174"/>
                    <a:pt x="138" y="143"/>
                    <a:pt x="166" y="145"/>
                  </a:cubicBezTo>
                  <a:cubicBezTo>
                    <a:pt x="179" y="147"/>
                    <a:pt x="192" y="147"/>
                    <a:pt x="204" y="146"/>
                  </a:cubicBezTo>
                  <a:cubicBezTo>
                    <a:pt x="204" y="125"/>
                    <a:pt x="204" y="125"/>
                    <a:pt x="204" y="125"/>
                  </a:cubicBezTo>
                  <a:cubicBezTo>
                    <a:pt x="199" y="125"/>
                    <a:pt x="195" y="124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77" y="115"/>
                    <a:pt x="172" y="98"/>
                    <a:pt x="179" y="84"/>
                  </a:cubicBezTo>
                  <a:cubicBezTo>
                    <a:pt x="184" y="74"/>
                    <a:pt x="193" y="69"/>
                    <a:pt x="204" y="69"/>
                  </a:cubicBezTo>
                  <a:lnTo>
                    <a:pt x="204" y="27"/>
                  </a:lnTo>
                  <a:close/>
                  <a:moveTo>
                    <a:pt x="91" y="6"/>
                  </a:moveTo>
                  <a:cubicBezTo>
                    <a:pt x="86" y="6"/>
                    <a:pt x="82" y="8"/>
                    <a:pt x="78" y="9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2"/>
                    <a:pt x="78" y="22"/>
                  </a:cubicBezTo>
                  <a:cubicBezTo>
                    <a:pt x="81" y="17"/>
                    <a:pt x="86" y="14"/>
                    <a:pt x="91" y="14"/>
                  </a:cubicBezTo>
                  <a:cubicBezTo>
                    <a:pt x="91" y="6"/>
                    <a:pt x="91" y="6"/>
                    <a:pt x="91" y="6"/>
                  </a:cubicBezTo>
                  <a:close/>
                  <a:moveTo>
                    <a:pt x="78" y="188"/>
                  </a:moveTo>
                  <a:cubicBezTo>
                    <a:pt x="82" y="188"/>
                    <a:pt x="87" y="187"/>
                    <a:pt x="91" y="185"/>
                  </a:cubicBezTo>
                  <a:cubicBezTo>
                    <a:pt x="91" y="162"/>
                    <a:pt x="91" y="162"/>
                    <a:pt x="91" y="162"/>
                  </a:cubicBezTo>
                  <a:cubicBezTo>
                    <a:pt x="90" y="163"/>
                    <a:pt x="90" y="164"/>
                    <a:pt x="90" y="165"/>
                  </a:cubicBezTo>
                  <a:cubicBezTo>
                    <a:pt x="87" y="170"/>
                    <a:pt x="83" y="174"/>
                    <a:pt x="78" y="176"/>
                  </a:cubicBezTo>
                  <a:cubicBezTo>
                    <a:pt x="78" y="188"/>
                    <a:pt x="78" y="188"/>
                    <a:pt x="78" y="188"/>
                  </a:cubicBezTo>
                  <a:close/>
                  <a:moveTo>
                    <a:pt x="91" y="42"/>
                  </a:moveTo>
                  <a:cubicBezTo>
                    <a:pt x="91" y="146"/>
                    <a:pt x="91" y="146"/>
                    <a:pt x="91" y="146"/>
                  </a:cubicBezTo>
                  <a:cubicBezTo>
                    <a:pt x="89" y="141"/>
                    <a:pt x="85" y="136"/>
                    <a:pt x="80" y="134"/>
                  </a:cubicBezTo>
                  <a:cubicBezTo>
                    <a:pt x="79" y="133"/>
                    <a:pt x="78" y="133"/>
                    <a:pt x="78" y="13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9" y="61"/>
                    <a:pt x="79" y="57"/>
                    <a:pt x="78" y="54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9" y="36"/>
                    <a:pt x="81" y="39"/>
                    <a:pt x="84" y="41"/>
                  </a:cubicBezTo>
                  <a:cubicBezTo>
                    <a:pt x="86" y="42"/>
                    <a:pt x="89" y="42"/>
                    <a:pt x="91" y="42"/>
                  </a:cubicBezTo>
                  <a:close/>
                  <a:moveTo>
                    <a:pt x="78" y="9"/>
                  </a:moveTo>
                  <a:cubicBezTo>
                    <a:pt x="71" y="11"/>
                    <a:pt x="65" y="14"/>
                    <a:pt x="60" y="18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2" y="40"/>
                    <a:pt x="65" y="41"/>
                    <a:pt x="68" y="42"/>
                  </a:cubicBezTo>
                  <a:cubicBezTo>
                    <a:pt x="73" y="45"/>
                    <a:pt x="76" y="49"/>
                    <a:pt x="78" y="54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7" y="30"/>
                    <a:pt x="77" y="27"/>
                    <a:pt x="78" y="24"/>
                  </a:cubicBezTo>
                  <a:cubicBezTo>
                    <a:pt x="78" y="9"/>
                    <a:pt x="78" y="9"/>
                    <a:pt x="78" y="9"/>
                  </a:cubicBezTo>
                  <a:close/>
                  <a:moveTo>
                    <a:pt x="60" y="187"/>
                  </a:moveTo>
                  <a:cubicBezTo>
                    <a:pt x="66" y="188"/>
                    <a:pt x="72" y="189"/>
                    <a:pt x="78" y="188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2" y="178"/>
                    <a:pt x="65" y="178"/>
                    <a:pt x="60" y="176"/>
                  </a:cubicBezTo>
                  <a:cubicBezTo>
                    <a:pt x="60" y="187"/>
                    <a:pt x="60" y="187"/>
                    <a:pt x="60" y="187"/>
                  </a:cubicBezTo>
                  <a:close/>
                  <a:moveTo>
                    <a:pt x="78" y="64"/>
                  </a:moveTo>
                  <a:cubicBezTo>
                    <a:pt x="78" y="133"/>
                    <a:pt x="78" y="133"/>
                    <a:pt x="78" y="133"/>
                  </a:cubicBezTo>
                  <a:cubicBezTo>
                    <a:pt x="72" y="131"/>
                    <a:pt x="65" y="131"/>
                    <a:pt x="60" y="134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64" y="123"/>
                    <a:pt x="67" y="120"/>
                    <a:pt x="70" y="116"/>
                  </a:cubicBezTo>
                  <a:cubicBezTo>
                    <a:pt x="75" y="105"/>
                    <a:pt x="71" y="92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6" y="78"/>
                    <a:pt x="73" y="74"/>
                    <a:pt x="76" y="68"/>
                  </a:cubicBezTo>
                  <a:cubicBezTo>
                    <a:pt x="77" y="66"/>
                    <a:pt x="77" y="65"/>
                    <a:pt x="78" y="64"/>
                  </a:cubicBezTo>
                  <a:close/>
                  <a:moveTo>
                    <a:pt x="60" y="18"/>
                  </a:moveTo>
                  <a:cubicBezTo>
                    <a:pt x="0" y="56"/>
                    <a:pt x="10" y="159"/>
                    <a:pt x="46" y="180"/>
                  </a:cubicBezTo>
                  <a:cubicBezTo>
                    <a:pt x="51" y="183"/>
                    <a:pt x="55" y="185"/>
                    <a:pt x="60" y="187"/>
                  </a:cubicBezTo>
                  <a:cubicBezTo>
                    <a:pt x="60" y="176"/>
                    <a:pt x="60" y="176"/>
                    <a:pt x="60" y="176"/>
                  </a:cubicBezTo>
                  <a:cubicBezTo>
                    <a:pt x="59" y="175"/>
                    <a:pt x="59" y="175"/>
                    <a:pt x="59" y="175"/>
                  </a:cubicBezTo>
                  <a:cubicBezTo>
                    <a:pt x="59" y="175"/>
                    <a:pt x="59" y="175"/>
                    <a:pt x="59" y="175"/>
                  </a:cubicBezTo>
                  <a:cubicBezTo>
                    <a:pt x="48" y="170"/>
                    <a:pt x="43" y="156"/>
                    <a:pt x="49" y="144"/>
                  </a:cubicBezTo>
                  <a:cubicBezTo>
                    <a:pt x="51" y="139"/>
                    <a:pt x="55" y="136"/>
                    <a:pt x="60" y="134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4" y="128"/>
                    <a:pt x="47" y="128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31" y="120"/>
                    <a:pt x="26" y="107"/>
                    <a:pt x="32" y="97"/>
                  </a:cubicBezTo>
                  <a:cubicBezTo>
                    <a:pt x="37" y="86"/>
                    <a:pt x="49" y="82"/>
                    <a:pt x="60" y="87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57" y="78"/>
                    <a:pt x="54" y="77"/>
                    <a:pt x="51" y="76"/>
                  </a:cubicBezTo>
                  <a:cubicBezTo>
                    <a:pt x="42" y="71"/>
                    <a:pt x="38" y="60"/>
                    <a:pt x="43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6" y="44"/>
                    <a:pt x="53" y="40"/>
                    <a:pt x="60" y="40"/>
                  </a:cubicBezTo>
                  <a:lnTo>
                    <a:pt x="60" y="18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grpSp>
          <p:nvGrpSpPr>
            <p:cNvPr id="32" name="Group 127">
              <a:extLst>
                <a:ext uri="{FF2B5EF4-FFF2-40B4-BE49-F238E27FC236}">
                  <a16:creationId xmlns:a16="http://schemas.microsoft.com/office/drawing/2014/main" id="{A81A117E-3915-4C66-87AB-B9B2E81697DD}"/>
                </a:ext>
              </a:extLst>
            </p:cNvPr>
            <p:cNvGrpSpPr/>
            <p:nvPr/>
          </p:nvGrpSpPr>
          <p:grpSpPr>
            <a:xfrm>
              <a:off x="8392034" y="4314319"/>
              <a:ext cx="507869" cy="653880"/>
              <a:chOff x="8610600" y="4127500"/>
              <a:chExt cx="508001" cy="654050"/>
            </a:xfrm>
            <a:solidFill>
              <a:srgbClr val="00953A"/>
            </a:solidFill>
          </p:grpSpPr>
          <p:sp>
            <p:nvSpPr>
              <p:cNvPr id="92" name="Freeform 33">
                <a:extLst>
                  <a:ext uri="{FF2B5EF4-FFF2-40B4-BE49-F238E27FC236}">
                    <a16:creationId xmlns:a16="http://schemas.microsoft.com/office/drawing/2014/main" id="{ABFF23F7-154D-4AD4-8136-BC55E78D0837}"/>
                  </a:ext>
                </a:extLst>
              </p:cNvPr>
              <p:cNvSpPr/>
              <p:nvPr/>
            </p:nvSpPr>
            <p:spPr bwMode="auto">
              <a:xfrm>
                <a:off x="8618538" y="4127500"/>
                <a:ext cx="500063" cy="503238"/>
              </a:xfrm>
              <a:custGeom>
                <a:avLst/>
                <a:gdLst>
                  <a:gd name="T0" fmla="*/ 169 w 230"/>
                  <a:gd name="T1" fmla="*/ 12 h 231"/>
                  <a:gd name="T2" fmla="*/ 215 w 230"/>
                  <a:gd name="T3" fmla="*/ 103 h 231"/>
                  <a:gd name="T4" fmla="*/ 102 w 230"/>
                  <a:gd name="T5" fmla="*/ 216 h 231"/>
                  <a:gd name="T6" fmla="*/ 12 w 230"/>
                  <a:gd name="T7" fmla="*/ 171 h 231"/>
                  <a:gd name="T8" fmla="*/ 0 w 230"/>
                  <a:gd name="T9" fmla="*/ 181 h 231"/>
                  <a:gd name="T10" fmla="*/ 102 w 230"/>
                  <a:gd name="T11" fmla="*/ 231 h 231"/>
                  <a:gd name="T12" fmla="*/ 230 w 230"/>
                  <a:gd name="T13" fmla="*/ 103 h 231"/>
                  <a:gd name="T14" fmla="*/ 178 w 230"/>
                  <a:gd name="T15" fmla="*/ 0 h 231"/>
                  <a:gd name="T16" fmla="*/ 169 w 230"/>
                  <a:gd name="T17" fmla="*/ 1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231">
                    <a:moveTo>
                      <a:pt x="169" y="12"/>
                    </a:moveTo>
                    <a:cubicBezTo>
                      <a:pt x="197" y="32"/>
                      <a:pt x="215" y="65"/>
                      <a:pt x="215" y="103"/>
                    </a:cubicBezTo>
                    <a:cubicBezTo>
                      <a:pt x="215" y="165"/>
                      <a:pt x="165" y="216"/>
                      <a:pt x="102" y="216"/>
                    </a:cubicBezTo>
                    <a:cubicBezTo>
                      <a:pt x="65" y="216"/>
                      <a:pt x="33" y="198"/>
                      <a:pt x="12" y="17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24" y="211"/>
                      <a:pt x="61" y="231"/>
                      <a:pt x="102" y="231"/>
                    </a:cubicBezTo>
                    <a:cubicBezTo>
                      <a:pt x="173" y="231"/>
                      <a:pt x="230" y="174"/>
                      <a:pt x="230" y="103"/>
                    </a:cubicBezTo>
                    <a:cubicBezTo>
                      <a:pt x="230" y="61"/>
                      <a:pt x="210" y="23"/>
                      <a:pt x="178" y="0"/>
                    </a:cubicBezTo>
                    <a:lnTo>
                      <a:pt x="169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3" name="Freeform 34">
                <a:extLst>
                  <a:ext uri="{FF2B5EF4-FFF2-40B4-BE49-F238E27FC236}">
                    <a16:creationId xmlns:a16="http://schemas.microsoft.com/office/drawing/2014/main" id="{928B7691-109A-4643-87E9-632AED771E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21713" y="4137025"/>
                <a:ext cx="442913" cy="441325"/>
              </a:xfrm>
              <a:custGeom>
                <a:avLst/>
                <a:gdLst>
                  <a:gd name="T0" fmla="*/ 102 w 203"/>
                  <a:gd name="T1" fmla="*/ 203 h 203"/>
                  <a:gd name="T2" fmla="*/ 203 w 203"/>
                  <a:gd name="T3" fmla="*/ 101 h 203"/>
                  <a:gd name="T4" fmla="*/ 102 w 203"/>
                  <a:gd name="T5" fmla="*/ 0 h 203"/>
                  <a:gd name="T6" fmla="*/ 102 w 203"/>
                  <a:gd name="T7" fmla="*/ 5 h 203"/>
                  <a:gd name="T8" fmla="*/ 198 w 203"/>
                  <a:gd name="T9" fmla="*/ 101 h 203"/>
                  <a:gd name="T10" fmla="*/ 102 w 203"/>
                  <a:gd name="T11" fmla="*/ 198 h 203"/>
                  <a:gd name="T12" fmla="*/ 102 w 203"/>
                  <a:gd name="T13" fmla="*/ 203 h 203"/>
                  <a:gd name="T14" fmla="*/ 102 w 203"/>
                  <a:gd name="T15" fmla="*/ 0 h 203"/>
                  <a:gd name="T16" fmla="*/ 0 w 203"/>
                  <a:gd name="T17" fmla="*/ 101 h 203"/>
                  <a:gd name="T18" fmla="*/ 102 w 203"/>
                  <a:gd name="T19" fmla="*/ 203 h 203"/>
                  <a:gd name="T20" fmla="*/ 102 w 203"/>
                  <a:gd name="T21" fmla="*/ 203 h 203"/>
                  <a:gd name="T22" fmla="*/ 102 w 203"/>
                  <a:gd name="T23" fmla="*/ 198 h 203"/>
                  <a:gd name="T24" fmla="*/ 102 w 203"/>
                  <a:gd name="T25" fmla="*/ 198 h 203"/>
                  <a:gd name="T26" fmla="*/ 102 w 203"/>
                  <a:gd name="T27" fmla="*/ 198 h 203"/>
                  <a:gd name="T28" fmla="*/ 5 w 203"/>
                  <a:gd name="T29" fmla="*/ 101 h 203"/>
                  <a:gd name="T30" fmla="*/ 102 w 203"/>
                  <a:gd name="T31" fmla="*/ 5 h 203"/>
                  <a:gd name="T32" fmla="*/ 102 w 203"/>
                  <a:gd name="T33" fmla="*/ 5 h 203"/>
                  <a:gd name="T34" fmla="*/ 102 w 203"/>
                  <a:gd name="T35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203">
                    <a:moveTo>
                      <a:pt x="102" y="203"/>
                    </a:moveTo>
                    <a:cubicBezTo>
                      <a:pt x="158" y="203"/>
                      <a:pt x="203" y="157"/>
                      <a:pt x="203" y="101"/>
                    </a:cubicBezTo>
                    <a:cubicBezTo>
                      <a:pt x="203" y="45"/>
                      <a:pt x="158" y="0"/>
                      <a:pt x="102" y="0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55" y="5"/>
                      <a:pt x="198" y="48"/>
                      <a:pt x="198" y="101"/>
                    </a:cubicBezTo>
                    <a:cubicBezTo>
                      <a:pt x="198" y="155"/>
                      <a:pt x="155" y="198"/>
                      <a:pt x="102" y="198"/>
                    </a:cubicBezTo>
                    <a:lnTo>
                      <a:pt x="102" y="203"/>
                    </a:lnTo>
                    <a:close/>
                    <a:moveTo>
                      <a:pt x="102" y="0"/>
                    </a:moveTo>
                    <a:cubicBezTo>
                      <a:pt x="46" y="0"/>
                      <a:pt x="0" y="45"/>
                      <a:pt x="0" y="101"/>
                    </a:cubicBezTo>
                    <a:cubicBezTo>
                      <a:pt x="0" y="157"/>
                      <a:pt x="46" y="203"/>
                      <a:pt x="102" y="203"/>
                    </a:cubicBezTo>
                    <a:cubicBezTo>
                      <a:pt x="102" y="203"/>
                      <a:pt x="102" y="203"/>
                      <a:pt x="102" y="203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48" y="198"/>
                      <a:pt x="5" y="155"/>
                      <a:pt x="5" y="101"/>
                    </a:cubicBezTo>
                    <a:cubicBezTo>
                      <a:pt x="5" y="48"/>
                      <a:pt x="48" y="5"/>
                      <a:pt x="102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2" y="0"/>
                      <a:pt x="102" y="0"/>
                      <a:pt x="10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4" name="Freeform 35">
                <a:extLst>
                  <a:ext uri="{FF2B5EF4-FFF2-40B4-BE49-F238E27FC236}">
                    <a16:creationId xmlns:a16="http://schemas.microsoft.com/office/drawing/2014/main" id="{849AA41F-CEDE-4AD6-99BB-632C5F6F73BE}"/>
                  </a:ext>
                </a:extLst>
              </p:cNvPr>
              <p:cNvSpPr/>
              <p:nvPr/>
            </p:nvSpPr>
            <p:spPr bwMode="auto">
              <a:xfrm>
                <a:off x="8610600" y="4144963"/>
                <a:ext cx="496888" cy="433388"/>
              </a:xfrm>
              <a:custGeom>
                <a:avLst/>
                <a:gdLst>
                  <a:gd name="T0" fmla="*/ 65 w 228"/>
                  <a:gd name="T1" fmla="*/ 15 h 199"/>
                  <a:gd name="T2" fmla="*/ 61 w 228"/>
                  <a:gd name="T3" fmla="*/ 23 h 199"/>
                  <a:gd name="T4" fmla="*/ 57 w 228"/>
                  <a:gd name="T5" fmla="*/ 29 h 199"/>
                  <a:gd name="T6" fmla="*/ 54 w 228"/>
                  <a:gd name="T7" fmla="*/ 26 h 199"/>
                  <a:gd name="T8" fmla="*/ 52 w 228"/>
                  <a:gd name="T9" fmla="*/ 32 h 199"/>
                  <a:gd name="T10" fmla="*/ 42 w 228"/>
                  <a:gd name="T11" fmla="*/ 34 h 199"/>
                  <a:gd name="T12" fmla="*/ 36 w 228"/>
                  <a:gd name="T13" fmla="*/ 41 h 199"/>
                  <a:gd name="T14" fmla="*/ 27 w 228"/>
                  <a:gd name="T15" fmla="*/ 53 h 199"/>
                  <a:gd name="T16" fmla="*/ 21 w 228"/>
                  <a:gd name="T17" fmla="*/ 61 h 199"/>
                  <a:gd name="T18" fmla="*/ 27 w 228"/>
                  <a:gd name="T19" fmla="*/ 67 h 199"/>
                  <a:gd name="T20" fmla="*/ 27 w 228"/>
                  <a:gd name="T21" fmla="*/ 70 h 199"/>
                  <a:gd name="T22" fmla="*/ 22 w 228"/>
                  <a:gd name="T23" fmla="*/ 65 h 199"/>
                  <a:gd name="T24" fmla="*/ 18 w 228"/>
                  <a:gd name="T25" fmla="*/ 60 h 199"/>
                  <a:gd name="T26" fmla="*/ 16 w 228"/>
                  <a:gd name="T27" fmla="*/ 69 h 199"/>
                  <a:gd name="T28" fmla="*/ 17 w 228"/>
                  <a:gd name="T29" fmla="*/ 83 h 199"/>
                  <a:gd name="T30" fmla="*/ 24 w 228"/>
                  <a:gd name="T31" fmla="*/ 80 h 199"/>
                  <a:gd name="T32" fmla="*/ 32 w 228"/>
                  <a:gd name="T33" fmla="*/ 88 h 199"/>
                  <a:gd name="T34" fmla="*/ 41 w 228"/>
                  <a:gd name="T35" fmla="*/ 98 h 199"/>
                  <a:gd name="T36" fmla="*/ 50 w 228"/>
                  <a:gd name="T37" fmla="*/ 105 h 199"/>
                  <a:gd name="T38" fmla="*/ 61 w 228"/>
                  <a:gd name="T39" fmla="*/ 117 h 199"/>
                  <a:gd name="T40" fmla="*/ 58 w 228"/>
                  <a:gd name="T41" fmla="*/ 134 h 199"/>
                  <a:gd name="T42" fmla="*/ 49 w 228"/>
                  <a:gd name="T43" fmla="*/ 155 h 199"/>
                  <a:gd name="T44" fmla="*/ 52 w 228"/>
                  <a:gd name="T45" fmla="*/ 170 h 199"/>
                  <a:gd name="T46" fmla="*/ 46 w 228"/>
                  <a:gd name="T47" fmla="*/ 171 h 199"/>
                  <a:gd name="T48" fmla="*/ 32 w 228"/>
                  <a:gd name="T49" fmla="*/ 148 h 199"/>
                  <a:gd name="T50" fmla="*/ 16 w 228"/>
                  <a:gd name="T51" fmla="*/ 113 h 199"/>
                  <a:gd name="T52" fmla="*/ 11 w 228"/>
                  <a:gd name="T53" fmla="*/ 87 h 199"/>
                  <a:gd name="T54" fmla="*/ 73 w 228"/>
                  <a:gd name="T55" fmla="*/ 183 h 199"/>
                  <a:gd name="T56" fmla="*/ 89 w 228"/>
                  <a:gd name="T57" fmla="*/ 181 h 199"/>
                  <a:gd name="T58" fmla="*/ 110 w 228"/>
                  <a:gd name="T59" fmla="*/ 178 h 199"/>
                  <a:gd name="T60" fmla="*/ 108 w 228"/>
                  <a:gd name="T61" fmla="*/ 187 h 199"/>
                  <a:gd name="T62" fmla="*/ 121 w 228"/>
                  <a:gd name="T63" fmla="*/ 186 h 199"/>
                  <a:gd name="T64" fmla="*/ 139 w 228"/>
                  <a:gd name="T65" fmla="*/ 184 h 199"/>
                  <a:gd name="T66" fmla="*/ 137 w 228"/>
                  <a:gd name="T67" fmla="*/ 3 h 199"/>
                  <a:gd name="T68" fmla="*/ 197 w 228"/>
                  <a:gd name="T69" fmla="*/ 64 h 199"/>
                  <a:gd name="T70" fmla="*/ 189 w 228"/>
                  <a:gd name="T71" fmla="*/ 58 h 199"/>
                  <a:gd name="T72" fmla="*/ 181 w 228"/>
                  <a:gd name="T73" fmla="*/ 74 h 199"/>
                  <a:gd name="T74" fmla="*/ 170 w 228"/>
                  <a:gd name="T75" fmla="*/ 59 h 199"/>
                  <a:gd name="T76" fmla="*/ 174 w 228"/>
                  <a:gd name="T77" fmla="*/ 75 h 199"/>
                  <a:gd name="T78" fmla="*/ 186 w 228"/>
                  <a:gd name="T79" fmla="*/ 79 h 199"/>
                  <a:gd name="T80" fmla="*/ 181 w 228"/>
                  <a:gd name="T81" fmla="*/ 100 h 199"/>
                  <a:gd name="T82" fmla="*/ 175 w 228"/>
                  <a:gd name="T83" fmla="*/ 122 h 199"/>
                  <a:gd name="T84" fmla="*/ 168 w 228"/>
                  <a:gd name="T85" fmla="*/ 137 h 199"/>
                  <a:gd name="T86" fmla="*/ 147 w 228"/>
                  <a:gd name="T87" fmla="*/ 154 h 199"/>
                  <a:gd name="T88" fmla="*/ 141 w 228"/>
                  <a:gd name="T89" fmla="*/ 139 h 199"/>
                  <a:gd name="T90" fmla="*/ 142 w 228"/>
                  <a:gd name="T91" fmla="*/ 121 h 199"/>
                  <a:gd name="T92" fmla="*/ 135 w 228"/>
                  <a:gd name="T93" fmla="*/ 101 h 199"/>
                  <a:gd name="T94" fmla="*/ 125 w 228"/>
                  <a:gd name="T95" fmla="*/ 89 h 199"/>
                  <a:gd name="T96" fmla="*/ 99 w 228"/>
                  <a:gd name="T97" fmla="*/ 90 h 199"/>
                  <a:gd name="T98" fmla="*/ 89 w 228"/>
                  <a:gd name="T99" fmla="*/ 76 h 199"/>
                  <a:gd name="T100" fmla="*/ 100 w 228"/>
                  <a:gd name="T101" fmla="*/ 49 h 199"/>
                  <a:gd name="T102" fmla="*/ 119 w 228"/>
                  <a:gd name="T103" fmla="*/ 41 h 199"/>
                  <a:gd name="T104" fmla="*/ 130 w 228"/>
                  <a:gd name="T105" fmla="*/ 46 h 199"/>
                  <a:gd name="T106" fmla="*/ 146 w 228"/>
                  <a:gd name="T107" fmla="*/ 46 h 199"/>
                  <a:gd name="T108" fmla="*/ 162 w 228"/>
                  <a:gd name="T109" fmla="*/ 44 h 199"/>
                  <a:gd name="T110" fmla="*/ 147 w 228"/>
                  <a:gd name="T111" fmla="*/ 37 h 199"/>
                  <a:gd name="T112" fmla="*/ 146 w 228"/>
                  <a:gd name="T113" fmla="*/ 32 h 199"/>
                  <a:gd name="T114" fmla="*/ 127 w 228"/>
                  <a:gd name="T115" fmla="*/ 32 h 199"/>
                  <a:gd name="T116" fmla="*/ 111 w 228"/>
                  <a:gd name="T117" fmla="*/ 37 h 199"/>
                  <a:gd name="T118" fmla="*/ 107 w 228"/>
                  <a:gd name="T119" fmla="*/ 21 h 199"/>
                  <a:gd name="T120" fmla="*/ 96 w 228"/>
                  <a:gd name="T121" fmla="*/ 11 h 199"/>
                  <a:gd name="T122" fmla="*/ 109 w 228"/>
                  <a:gd name="T123" fmla="*/ 3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8" h="199">
                    <a:moveTo>
                      <a:pt x="92" y="0"/>
                    </a:moveTo>
                    <a:cubicBezTo>
                      <a:pt x="92" y="0"/>
                      <a:pt x="58" y="5"/>
                      <a:pt x="35" y="31"/>
                    </a:cubicBezTo>
                    <a:cubicBezTo>
                      <a:pt x="35" y="31"/>
                      <a:pt x="53" y="13"/>
                      <a:pt x="64" y="1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6" y="14"/>
                      <a:pt x="66" y="15"/>
                      <a:pt x="65" y="15"/>
                    </a:cubicBezTo>
                    <a:cubicBezTo>
                      <a:pt x="65" y="16"/>
                      <a:pt x="64" y="17"/>
                      <a:pt x="64" y="18"/>
                    </a:cubicBezTo>
                    <a:cubicBezTo>
                      <a:pt x="64" y="18"/>
                      <a:pt x="64" y="20"/>
                      <a:pt x="64" y="20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3" y="21"/>
                      <a:pt x="62" y="21"/>
                      <a:pt x="62" y="22"/>
                    </a:cubicBezTo>
                    <a:cubicBezTo>
                      <a:pt x="62" y="22"/>
                      <a:pt x="61" y="22"/>
                      <a:pt x="61" y="23"/>
                    </a:cubicBezTo>
                    <a:cubicBezTo>
                      <a:pt x="61" y="24"/>
                      <a:pt x="61" y="25"/>
                      <a:pt x="61" y="25"/>
                    </a:cubicBezTo>
                    <a:cubicBezTo>
                      <a:pt x="62" y="27"/>
                      <a:pt x="62" y="27"/>
                      <a:pt x="62" y="27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59" y="29"/>
                      <a:pt x="59" y="29"/>
                      <a:pt x="59" y="29"/>
                    </a:cubicBezTo>
                    <a:cubicBezTo>
                      <a:pt x="59" y="29"/>
                      <a:pt x="58" y="29"/>
                      <a:pt x="57" y="29"/>
                    </a:cubicBezTo>
                    <a:cubicBezTo>
                      <a:pt x="56" y="29"/>
                      <a:pt x="56" y="27"/>
                      <a:pt x="56" y="27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8" y="26"/>
                      <a:pt x="58" y="26"/>
                      <a:pt x="58" y="25"/>
                    </a:cubicBezTo>
                    <a:cubicBezTo>
                      <a:pt x="57" y="25"/>
                      <a:pt x="57" y="24"/>
                      <a:pt x="56" y="24"/>
                    </a:cubicBezTo>
                    <a:cubicBezTo>
                      <a:pt x="55" y="24"/>
                      <a:pt x="54" y="26"/>
                      <a:pt x="54" y="26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52" y="27"/>
                      <a:pt x="51" y="29"/>
                      <a:pt x="51" y="29"/>
                    </a:cubicBezTo>
                    <a:cubicBezTo>
                      <a:pt x="52" y="29"/>
                      <a:pt x="53" y="29"/>
                      <a:pt x="53" y="29"/>
                    </a:cubicBezTo>
                    <a:cubicBezTo>
                      <a:pt x="53" y="29"/>
                      <a:pt x="53" y="30"/>
                      <a:pt x="53" y="31"/>
                    </a:cubicBezTo>
                    <a:cubicBezTo>
                      <a:pt x="53" y="31"/>
                      <a:pt x="52" y="32"/>
                      <a:pt x="52" y="32"/>
                    </a:cubicBezTo>
                    <a:cubicBezTo>
                      <a:pt x="52" y="32"/>
                      <a:pt x="52" y="33"/>
                      <a:pt x="51" y="33"/>
                    </a:cubicBezTo>
                    <a:cubicBezTo>
                      <a:pt x="50" y="32"/>
                      <a:pt x="49" y="32"/>
                      <a:pt x="48" y="32"/>
                    </a:cubicBezTo>
                    <a:cubicBezTo>
                      <a:pt x="47" y="32"/>
                      <a:pt x="46" y="31"/>
                      <a:pt x="46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33"/>
                      <a:pt x="42" y="34"/>
                      <a:pt x="42" y="34"/>
                    </a:cubicBezTo>
                    <a:cubicBezTo>
                      <a:pt x="42" y="34"/>
                      <a:pt x="41" y="35"/>
                      <a:pt x="41" y="35"/>
                    </a:cubicBezTo>
                    <a:cubicBezTo>
                      <a:pt x="41" y="35"/>
                      <a:pt x="41" y="37"/>
                      <a:pt x="41" y="37"/>
                    </a:cubicBezTo>
                    <a:cubicBezTo>
                      <a:pt x="41" y="37"/>
                      <a:pt x="40" y="38"/>
                      <a:pt x="38" y="38"/>
                    </a:cubicBezTo>
                    <a:cubicBezTo>
                      <a:pt x="37" y="39"/>
                      <a:pt x="36" y="39"/>
                      <a:pt x="36" y="39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41"/>
                      <a:pt x="34" y="42"/>
                      <a:pt x="34" y="43"/>
                    </a:cubicBezTo>
                    <a:cubicBezTo>
                      <a:pt x="33" y="44"/>
                      <a:pt x="30" y="46"/>
                      <a:pt x="30" y="46"/>
                    </a:cubicBezTo>
                    <a:cubicBezTo>
                      <a:pt x="30" y="46"/>
                      <a:pt x="29" y="47"/>
                      <a:pt x="28" y="48"/>
                    </a:cubicBezTo>
                    <a:cubicBezTo>
                      <a:pt x="28" y="49"/>
                      <a:pt x="28" y="50"/>
                      <a:pt x="28" y="51"/>
                    </a:cubicBezTo>
                    <a:cubicBezTo>
                      <a:pt x="28" y="51"/>
                      <a:pt x="27" y="52"/>
                      <a:pt x="27" y="53"/>
                    </a:cubicBezTo>
                    <a:cubicBezTo>
                      <a:pt x="27" y="54"/>
                      <a:pt x="26" y="55"/>
                      <a:pt x="26" y="56"/>
                    </a:cubicBezTo>
                    <a:cubicBezTo>
                      <a:pt x="25" y="56"/>
                      <a:pt x="25" y="57"/>
                      <a:pt x="24" y="57"/>
                    </a:cubicBezTo>
                    <a:cubicBezTo>
                      <a:pt x="24" y="57"/>
                      <a:pt x="22" y="58"/>
                      <a:pt x="21" y="58"/>
                    </a:cubicBezTo>
                    <a:cubicBezTo>
                      <a:pt x="20" y="59"/>
                      <a:pt x="20" y="60"/>
                      <a:pt x="20" y="60"/>
                    </a:cubicBezTo>
                    <a:cubicBezTo>
                      <a:pt x="20" y="60"/>
                      <a:pt x="21" y="61"/>
                      <a:pt x="21" y="61"/>
                    </a:cubicBezTo>
                    <a:cubicBezTo>
                      <a:pt x="22" y="61"/>
                      <a:pt x="23" y="62"/>
                      <a:pt x="23" y="62"/>
                    </a:cubicBezTo>
                    <a:cubicBezTo>
                      <a:pt x="23" y="62"/>
                      <a:pt x="23" y="63"/>
                      <a:pt x="23" y="64"/>
                    </a:cubicBezTo>
                    <a:cubicBezTo>
                      <a:pt x="23" y="64"/>
                      <a:pt x="22" y="66"/>
                      <a:pt x="23" y="66"/>
                    </a:cubicBezTo>
                    <a:cubicBezTo>
                      <a:pt x="24" y="66"/>
                      <a:pt x="25" y="66"/>
                      <a:pt x="25" y="66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29" y="68"/>
                      <a:pt x="29" y="69"/>
                      <a:pt x="29" y="70"/>
                    </a:cubicBezTo>
                    <a:cubicBezTo>
                      <a:pt x="28" y="70"/>
                      <a:pt x="28" y="71"/>
                      <a:pt x="28" y="71"/>
                    </a:cubicBezTo>
                    <a:cubicBezTo>
                      <a:pt x="27" y="71"/>
                      <a:pt x="27" y="71"/>
                      <a:pt x="27" y="70"/>
                    </a:cubicBezTo>
                    <a:cubicBezTo>
                      <a:pt x="27" y="69"/>
                      <a:pt x="27" y="69"/>
                      <a:pt x="26" y="68"/>
                    </a:cubicBezTo>
                    <a:cubicBezTo>
                      <a:pt x="25" y="68"/>
                      <a:pt x="24" y="69"/>
                      <a:pt x="24" y="69"/>
                    </a:cubicBezTo>
                    <a:cubicBezTo>
                      <a:pt x="24" y="69"/>
                      <a:pt x="23" y="69"/>
                      <a:pt x="23" y="68"/>
                    </a:cubicBezTo>
                    <a:cubicBezTo>
                      <a:pt x="22" y="67"/>
                      <a:pt x="22" y="68"/>
                      <a:pt x="22" y="67"/>
                    </a:cubicBezTo>
                    <a:cubicBezTo>
                      <a:pt x="22" y="66"/>
                      <a:pt x="23" y="66"/>
                      <a:pt x="22" y="65"/>
                    </a:cubicBezTo>
                    <a:cubicBezTo>
                      <a:pt x="22" y="65"/>
                      <a:pt x="21" y="64"/>
                      <a:pt x="21" y="64"/>
                    </a:cubicBezTo>
                    <a:cubicBezTo>
                      <a:pt x="20" y="64"/>
                      <a:pt x="21" y="65"/>
                      <a:pt x="20" y="64"/>
                    </a:cubicBezTo>
                    <a:cubicBezTo>
                      <a:pt x="20" y="63"/>
                      <a:pt x="19" y="63"/>
                      <a:pt x="19" y="63"/>
                    </a:cubicBezTo>
                    <a:cubicBezTo>
                      <a:pt x="19" y="63"/>
                      <a:pt x="18" y="63"/>
                      <a:pt x="18" y="62"/>
                    </a:cubicBezTo>
                    <a:cubicBezTo>
                      <a:pt x="18" y="62"/>
                      <a:pt x="18" y="61"/>
                      <a:pt x="18" y="60"/>
                    </a:cubicBezTo>
                    <a:cubicBezTo>
                      <a:pt x="18" y="60"/>
                      <a:pt x="19" y="59"/>
                      <a:pt x="19" y="58"/>
                    </a:cubicBezTo>
                    <a:cubicBezTo>
                      <a:pt x="19" y="58"/>
                      <a:pt x="19" y="55"/>
                      <a:pt x="19" y="55"/>
                    </a:cubicBezTo>
                    <a:cubicBezTo>
                      <a:pt x="19" y="55"/>
                      <a:pt x="16" y="61"/>
                      <a:pt x="15" y="66"/>
                    </a:cubicBezTo>
                    <a:cubicBezTo>
                      <a:pt x="15" y="66"/>
                      <a:pt x="16" y="65"/>
                      <a:pt x="16" y="66"/>
                    </a:cubicBezTo>
                    <a:cubicBezTo>
                      <a:pt x="16" y="67"/>
                      <a:pt x="17" y="68"/>
                      <a:pt x="16" y="69"/>
                    </a:cubicBezTo>
                    <a:cubicBezTo>
                      <a:pt x="16" y="69"/>
                      <a:pt x="16" y="69"/>
                      <a:pt x="16" y="72"/>
                    </a:cubicBezTo>
                    <a:cubicBezTo>
                      <a:pt x="16" y="74"/>
                      <a:pt x="17" y="75"/>
                      <a:pt x="17" y="76"/>
                    </a:cubicBezTo>
                    <a:cubicBezTo>
                      <a:pt x="16" y="76"/>
                      <a:pt x="16" y="77"/>
                      <a:pt x="16" y="78"/>
                    </a:cubicBezTo>
                    <a:cubicBezTo>
                      <a:pt x="16" y="79"/>
                      <a:pt x="16" y="82"/>
                      <a:pt x="17" y="82"/>
                    </a:cubicBezTo>
                    <a:cubicBezTo>
                      <a:pt x="17" y="82"/>
                      <a:pt x="17" y="83"/>
                      <a:pt x="17" y="83"/>
                    </a:cubicBezTo>
                    <a:cubicBezTo>
                      <a:pt x="18" y="84"/>
                      <a:pt x="17" y="85"/>
                      <a:pt x="18" y="84"/>
                    </a:cubicBezTo>
                    <a:cubicBezTo>
                      <a:pt x="19" y="82"/>
                      <a:pt x="20" y="81"/>
                      <a:pt x="20" y="81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0" y="80"/>
                      <a:pt x="20" y="79"/>
                      <a:pt x="22" y="79"/>
                    </a:cubicBezTo>
                    <a:cubicBezTo>
                      <a:pt x="23" y="79"/>
                      <a:pt x="24" y="79"/>
                      <a:pt x="24" y="80"/>
                    </a:cubicBezTo>
                    <a:cubicBezTo>
                      <a:pt x="25" y="80"/>
                      <a:pt x="23" y="82"/>
                      <a:pt x="24" y="82"/>
                    </a:cubicBezTo>
                    <a:cubicBezTo>
                      <a:pt x="25" y="82"/>
                      <a:pt x="27" y="81"/>
                      <a:pt x="28" y="81"/>
                    </a:cubicBezTo>
                    <a:cubicBezTo>
                      <a:pt x="29" y="81"/>
                      <a:pt x="29" y="82"/>
                      <a:pt x="30" y="83"/>
                    </a:cubicBezTo>
                    <a:cubicBezTo>
                      <a:pt x="30" y="84"/>
                      <a:pt x="30" y="85"/>
                      <a:pt x="31" y="86"/>
                    </a:cubicBezTo>
                    <a:cubicBezTo>
                      <a:pt x="32" y="86"/>
                      <a:pt x="31" y="87"/>
                      <a:pt x="32" y="88"/>
                    </a:cubicBezTo>
                    <a:cubicBezTo>
                      <a:pt x="32" y="89"/>
                      <a:pt x="34" y="90"/>
                      <a:pt x="35" y="90"/>
                    </a:cubicBezTo>
                    <a:cubicBezTo>
                      <a:pt x="35" y="90"/>
                      <a:pt x="37" y="90"/>
                      <a:pt x="38" y="90"/>
                    </a:cubicBezTo>
                    <a:cubicBezTo>
                      <a:pt x="39" y="91"/>
                      <a:pt x="38" y="92"/>
                      <a:pt x="39" y="92"/>
                    </a:cubicBezTo>
                    <a:cubicBezTo>
                      <a:pt x="40" y="92"/>
                      <a:pt x="41" y="95"/>
                      <a:pt x="41" y="95"/>
                    </a:cubicBezTo>
                    <a:cubicBezTo>
                      <a:pt x="41" y="95"/>
                      <a:pt x="41" y="97"/>
                      <a:pt x="41" y="98"/>
                    </a:cubicBezTo>
                    <a:cubicBezTo>
                      <a:pt x="41" y="98"/>
                      <a:pt x="41" y="99"/>
                      <a:pt x="42" y="100"/>
                    </a:cubicBezTo>
                    <a:cubicBezTo>
                      <a:pt x="42" y="100"/>
                      <a:pt x="44" y="100"/>
                      <a:pt x="44" y="100"/>
                    </a:cubicBezTo>
                    <a:cubicBezTo>
                      <a:pt x="44" y="100"/>
                      <a:pt x="43" y="102"/>
                      <a:pt x="45" y="102"/>
                    </a:cubicBezTo>
                    <a:cubicBezTo>
                      <a:pt x="47" y="103"/>
                      <a:pt x="48" y="103"/>
                      <a:pt x="49" y="104"/>
                    </a:cubicBezTo>
                    <a:cubicBezTo>
                      <a:pt x="49" y="104"/>
                      <a:pt x="48" y="105"/>
                      <a:pt x="50" y="105"/>
                    </a:cubicBezTo>
                    <a:cubicBezTo>
                      <a:pt x="52" y="105"/>
                      <a:pt x="54" y="105"/>
                      <a:pt x="55" y="106"/>
                    </a:cubicBezTo>
                    <a:cubicBezTo>
                      <a:pt x="56" y="106"/>
                      <a:pt x="55" y="107"/>
                      <a:pt x="57" y="109"/>
                    </a:cubicBezTo>
                    <a:cubicBezTo>
                      <a:pt x="60" y="110"/>
                      <a:pt x="60" y="111"/>
                      <a:pt x="61" y="111"/>
                    </a:cubicBezTo>
                    <a:cubicBezTo>
                      <a:pt x="62" y="111"/>
                      <a:pt x="63" y="111"/>
                      <a:pt x="63" y="113"/>
                    </a:cubicBezTo>
                    <a:cubicBezTo>
                      <a:pt x="62" y="115"/>
                      <a:pt x="62" y="116"/>
                      <a:pt x="61" y="117"/>
                    </a:cubicBezTo>
                    <a:cubicBezTo>
                      <a:pt x="60" y="118"/>
                      <a:pt x="59" y="120"/>
                      <a:pt x="58" y="121"/>
                    </a:cubicBezTo>
                    <a:cubicBezTo>
                      <a:pt x="58" y="122"/>
                      <a:pt x="57" y="123"/>
                      <a:pt x="58" y="124"/>
                    </a:cubicBezTo>
                    <a:cubicBezTo>
                      <a:pt x="58" y="126"/>
                      <a:pt x="59" y="127"/>
                      <a:pt x="59" y="128"/>
                    </a:cubicBezTo>
                    <a:cubicBezTo>
                      <a:pt x="59" y="129"/>
                      <a:pt x="59" y="131"/>
                      <a:pt x="59" y="132"/>
                    </a:cubicBezTo>
                    <a:cubicBezTo>
                      <a:pt x="58" y="133"/>
                      <a:pt x="58" y="134"/>
                      <a:pt x="58" y="134"/>
                    </a:cubicBezTo>
                    <a:cubicBezTo>
                      <a:pt x="58" y="134"/>
                      <a:pt x="59" y="136"/>
                      <a:pt x="58" y="137"/>
                    </a:cubicBezTo>
                    <a:cubicBezTo>
                      <a:pt x="57" y="138"/>
                      <a:pt x="55" y="140"/>
                      <a:pt x="54" y="140"/>
                    </a:cubicBezTo>
                    <a:cubicBezTo>
                      <a:pt x="53" y="140"/>
                      <a:pt x="51" y="142"/>
                      <a:pt x="51" y="142"/>
                    </a:cubicBezTo>
                    <a:cubicBezTo>
                      <a:pt x="51" y="142"/>
                      <a:pt x="51" y="146"/>
                      <a:pt x="51" y="147"/>
                    </a:cubicBezTo>
                    <a:cubicBezTo>
                      <a:pt x="51" y="147"/>
                      <a:pt x="47" y="154"/>
                      <a:pt x="49" y="155"/>
                    </a:cubicBezTo>
                    <a:cubicBezTo>
                      <a:pt x="50" y="156"/>
                      <a:pt x="50" y="158"/>
                      <a:pt x="50" y="159"/>
                    </a:cubicBezTo>
                    <a:cubicBezTo>
                      <a:pt x="49" y="160"/>
                      <a:pt x="49" y="160"/>
                      <a:pt x="49" y="160"/>
                    </a:cubicBezTo>
                    <a:cubicBezTo>
                      <a:pt x="48" y="161"/>
                      <a:pt x="46" y="161"/>
                      <a:pt x="47" y="163"/>
                    </a:cubicBezTo>
                    <a:cubicBezTo>
                      <a:pt x="49" y="165"/>
                      <a:pt x="50" y="165"/>
                      <a:pt x="50" y="167"/>
                    </a:cubicBezTo>
                    <a:cubicBezTo>
                      <a:pt x="51" y="168"/>
                      <a:pt x="51" y="168"/>
                      <a:pt x="52" y="170"/>
                    </a:cubicBezTo>
                    <a:cubicBezTo>
                      <a:pt x="53" y="171"/>
                      <a:pt x="53" y="172"/>
                      <a:pt x="54" y="173"/>
                    </a:cubicBezTo>
                    <a:cubicBezTo>
                      <a:pt x="55" y="174"/>
                      <a:pt x="56" y="175"/>
                      <a:pt x="56" y="176"/>
                    </a:cubicBezTo>
                    <a:cubicBezTo>
                      <a:pt x="56" y="177"/>
                      <a:pt x="59" y="179"/>
                      <a:pt x="56" y="177"/>
                    </a:cubicBezTo>
                    <a:cubicBezTo>
                      <a:pt x="53" y="175"/>
                      <a:pt x="56" y="177"/>
                      <a:pt x="52" y="174"/>
                    </a:cubicBezTo>
                    <a:cubicBezTo>
                      <a:pt x="49" y="171"/>
                      <a:pt x="48" y="173"/>
                      <a:pt x="46" y="171"/>
                    </a:cubicBezTo>
                    <a:cubicBezTo>
                      <a:pt x="45" y="169"/>
                      <a:pt x="47" y="175"/>
                      <a:pt x="44" y="168"/>
                    </a:cubicBezTo>
                    <a:cubicBezTo>
                      <a:pt x="41" y="160"/>
                      <a:pt x="40" y="161"/>
                      <a:pt x="39" y="159"/>
                    </a:cubicBezTo>
                    <a:cubicBezTo>
                      <a:pt x="39" y="157"/>
                      <a:pt x="39" y="159"/>
                      <a:pt x="37" y="155"/>
                    </a:cubicBezTo>
                    <a:cubicBezTo>
                      <a:pt x="35" y="151"/>
                      <a:pt x="37" y="154"/>
                      <a:pt x="35" y="151"/>
                    </a:cubicBezTo>
                    <a:cubicBezTo>
                      <a:pt x="33" y="149"/>
                      <a:pt x="33" y="152"/>
                      <a:pt x="32" y="148"/>
                    </a:cubicBezTo>
                    <a:cubicBezTo>
                      <a:pt x="31" y="143"/>
                      <a:pt x="31" y="146"/>
                      <a:pt x="30" y="141"/>
                    </a:cubicBezTo>
                    <a:cubicBezTo>
                      <a:pt x="28" y="136"/>
                      <a:pt x="31" y="136"/>
                      <a:pt x="28" y="133"/>
                    </a:cubicBezTo>
                    <a:cubicBezTo>
                      <a:pt x="25" y="131"/>
                      <a:pt x="25" y="132"/>
                      <a:pt x="24" y="131"/>
                    </a:cubicBezTo>
                    <a:cubicBezTo>
                      <a:pt x="23" y="129"/>
                      <a:pt x="25" y="130"/>
                      <a:pt x="22" y="126"/>
                    </a:cubicBezTo>
                    <a:cubicBezTo>
                      <a:pt x="20" y="122"/>
                      <a:pt x="16" y="120"/>
                      <a:pt x="16" y="113"/>
                    </a:cubicBezTo>
                    <a:cubicBezTo>
                      <a:pt x="16" y="105"/>
                      <a:pt x="16" y="104"/>
                      <a:pt x="16" y="104"/>
                    </a:cubicBezTo>
                    <a:cubicBezTo>
                      <a:pt x="16" y="104"/>
                      <a:pt x="13" y="101"/>
                      <a:pt x="14" y="97"/>
                    </a:cubicBezTo>
                    <a:cubicBezTo>
                      <a:pt x="15" y="92"/>
                      <a:pt x="16" y="94"/>
                      <a:pt x="15" y="92"/>
                    </a:cubicBezTo>
                    <a:cubicBezTo>
                      <a:pt x="15" y="91"/>
                      <a:pt x="14" y="91"/>
                      <a:pt x="13" y="89"/>
                    </a:cubicBezTo>
                    <a:cubicBezTo>
                      <a:pt x="12" y="88"/>
                      <a:pt x="12" y="88"/>
                      <a:pt x="11" y="87"/>
                    </a:cubicBezTo>
                    <a:cubicBezTo>
                      <a:pt x="11" y="86"/>
                      <a:pt x="11" y="83"/>
                      <a:pt x="11" y="83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0" y="182"/>
                      <a:pt x="97" y="197"/>
                    </a:cubicBezTo>
                    <a:cubicBezTo>
                      <a:pt x="97" y="197"/>
                      <a:pt x="75" y="192"/>
                      <a:pt x="73" y="187"/>
                    </a:cubicBezTo>
                    <a:cubicBezTo>
                      <a:pt x="73" y="187"/>
                      <a:pt x="72" y="183"/>
                      <a:pt x="73" y="183"/>
                    </a:cubicBezTo>
                    <a:cubicBezTo>
                      <a:pt x="74" y="183"/>
                      <a:pt x="76" y="184"/>
                      <a:pt x="77" y="183"/>
                    </a:cubicBezTo>
                    <a:cubicBezTo>
                      <a:pt x="79" y="181"/>
                      <a:pt x="80" y="180"/>
                      <a:pt x="80" y="180"/>
                    </a:cubicBezTo>
                    <a:cubicBezTo>
                      <a:pt x="80" y="182"/>
                      <a:pt x="80" y="182"/>
                      <a:pt x="80" y="182"/>
                    </a:cubicBezTo>
                    <a:cubicBezTo>
                      <a:pt x="80" y="182"/>
                      <a:pt x="79" y="182"/>
                      <a:pt x="83" y="181"/>
                    </a:cubicBezTo>
                    <a:cubicBezTo>
                      <a:pt x="88" y="181"/>
                      <a:pt x="88" y="181"/>
                      <a:pt x="89" y="181"/>
                    </a:cubicBezTo>
                    <a:cubicBezTo>
                      <a:pt x="91" y="180"/>
                      <a:pt x="93" y="176"/>
                      <a:pt x="94" y="178"/>
                    </a:cubicBezTo>
                    <a:cubicBezTo>
                      <a:pt x="95" y="181"/>
                      <a:pt x="93" y="180"/>
                      <a:pt x="95" y="181"/>
                    </a:cubicBezTo>
                    <a:cubicBezTo>
                      <a:pt x="97" y="181"/>
                      <a:pt x="101" y="180"/>
                      <a:pt x="101" y="180"/>
                    </a:cubicBezTo>
                    <a:cubicBezTo>
                      <a:pt x="101" y="180"/>
                      <a:pt x="108" y="181"/>
                      <a:pt x="108" y="180"/>
                    </a:cubicBezTo>
                    <a:cubicBezTo>
                      <a:pt x="109" y="179"/>
                      <a:pt x="109" y="178"/>
                      <a:pt x="110" y="178"/>
                    </a:cubicBezTo>
                    <a:cubicBezTo>
                      <a:pt x="111" y="178"/>
                      <a:pt x="112" y="180"/>
                      <a:pt x="112" y="180"/>
                    </a:cubicBezTo>
                    <a:cubicBezTo>
                      <a:pt x="108" y="182"/>
                      <a:pt x="108" y="182"/>
                      <a:pt x="108" y="182"/>
                    </a:cubicBezTo>
                    <a:cubicBezTo>
                      <a:pt x="105" y="185"/>
                      <a:pt x="105" y="185"/>
                      <a:pt x="105" y="185"/>
                    </a:cubicBezTo>
                    <a:cubicBezTo>
                      <a:pt x="105" y="185"/>
                      <a:pt x="103" y="185"/>
                      <a:pt x="105" y="186"/>
                    </a:cubicBezTo>
                    <a:cubicBezTo>
                      <a:pt x="106" y="187"/>
                      <a:pt x="107" y="187"/>
                      <a:pt x="108" y="187"/>
                    </a:cubicBezTo>
                    <a:cubicBezTo>
                      <a:pt x="110" y="187"/>
                      <a:pt x="114" y="190"/>
                      <a:pt x="115" y="188"/>
                    </a:cubicBezTo>
                    <a:cubicBezTo>
                      <a:pt x="116" y="186"/>
                      <a:pt x="116" y="186"/>
                      <a:pt x="117" y="185"/>
                    </a:cubicBezTo>
                    <a:cubicBezTo>
                      <a:pt x="117" y="184"/>
                      <a:pt x="117" y="182"/>
                      <a:pt x="119" y="182"/>
                    </a:cubicBezTo>
                    <a:cubicBezTo>
                      <a:pt x="120" y="182"/>
                      <a:pt x="122" y="183"/>
                      <a:pt x="122" y="183"/>
                    </a:cubicBezTo>
                    <a:cubicBezTo>
                      <a:pt x="121" y="186"/>
                      <a:pt x="121" y="186"/>
                      <a:pt x="121" y="186"/>
                    </a:cubicBezTo>
                    <a:cubicBezTo>
                      <a:pt x="121" y="186"/>
                      <a:pt x="123" y="186"/>
                      <a:pt x="125" y="186"/>
                    </a:cubicBezTo>
                    <a:cubicBezTo>
                      <a:pt x="126" y="186"/>
                      <a:pt x="126" y="188"/>
                      <a:pt x="128" y="186"/>
                    </a:cubicBezTo>
                    <a:cubicBezTo>
                      <a:pt x="129" y="184"/>
                      <a:pt x="129" y="184"/>
                      <a:pt x="131" y="184"/>
                    </a:cubicBezTo>
                    <a:cubicBezTo>
                      <a:pt x="133" y="184"/>
                      <a:pt x="135" y="183"/>
                      <a:pt x="136" y="183"/>
                    </a:cubicBezTo>
                    <a:cubicBezTo>
                      <a:pt x="136" y="184"/>
                      <a:pt x="138" y="184"/>
                      <a:pt x="139" y="184"/>
                    </a:cubicBezTo>
                    <a:cubicBezTo>
                      <a:pt x="139" y="184"/>
                      <a:pt x="143" y="186"/>
                      <a:pt x="143" y="186"/>
                    </a:cubicBezTo>
                    <a:cubicBezTo>
                      <a:pt x="144" y="185"/>
                      <a:pt x="148" y="186"/>
                      <a:pt x="148" y="186"/>
                    </a:cubicBezTo>
                    <a:cubicBezTo>
                      <a:pt x="148" y="186"/>
                      <a:pt x="137" y="196"/>
                      <a:pt x="113" y="197"/>
                    </a:cubicBezTo>
                    <a:cubicBezTo>
                      <a:pt x="113" y="197"/>
                      <a:pt x="167" y="199"/>
                      <a:pt x="197" y="146"/>
                    </a:cubicBezTo>
                    <a:cubicBezTo>
                      <a:pt x="228" y="94"/>
                      <a:pt x="206" y="26"/>
                      <a:pt x="137" y="3"/>
                    </a:cubicBezTo>
                    <a:cubicBezTo>
                      <a:pt x="137" y="3"/>
                      <a:pt x="189" y="22"/>
                      <a:pt x="203" y="71"/>
                    </a:cubicBezTo>
                    <a:cubicBezTo>
                      <a:pt x="202" y="72"/>
                      <a:pt x="202" y="72"/>
                      <a:pt x="202" y="72"/>
                    </a:cubicBezTo>
                    <a:cubicBezTo>
                      <a:pt x="201" y="71"/>
                      <a:pt x="201" y="72"/>
                      <a:pt x="200" y="69"/>
                    </a:cubicBezTo>
                    <a:cubicBezTo>
                      <a:pt x="199" y="67"/>
                      <a:pt x="199" y="68"/>
                      <a:pt x="199" y="66"/>
                    </a:cubicBezTo>
                    <a:cubicBezTo>
                      <a:pt x="198" y="64"/>
                      <a:pt x="198" y="65"/>
                      <a:pt x="197" y="64"/>
                    </a:cubicBezTo>
                    <a:cubicBezTo>
                      <a:pt x="195" y="62"/>
                      <a:pt x="195" y="62"/>
                      <a:pt x="194" y="61"/>
                    </a:cubicBezTo>
                    <a:cubicBezTo>
                      <a:pt x="193" y="61"/>
                      <a:pt x="192" y="58"/>
                      <a:pt x="192" y="57"/>
                    </a:cubicBezTo>
                    <a:cubicBezTo>
                      <a:pt x="191" y="56"/>
                      <a:pt x="189" y="55"/>
                      <a:pt x="188" y="55"/>
                    </a:cubicBezTo>
                    <a:cubicBezTo>
                      <a:pt x="187" y="55"/>
                      <a:pt x="188" y="54"/>
                      <a:pt x="187" y="55"/>
                    </a:cubicBezTo>
                    <a:cubicBezTo>
                      <a:pt x="187" y="56"/>
                      <a:pt x="189" y="58"/>
                      <a:pt x="189" y="58"/>
                    </a:cubicBezTo>
                    <a:cubicBezTo>
                      <a:pt x="189" y="62"/>
                      <a:pt x="189" y="62"/>
                      <a:pt x="189" y="62"/>
                    </a:cubicBezTo>
                    <a:cubicBezTo>
                      <a:pt x="189" y="62"/>
                      <a:pt x="190" y="65"/>
                      <a:pt x="190" y="66"/>
                    </a:cubicBezTo>
                    <a:cubicBezTo>
                      <a:pt x="190" y="67"/>
                      <a:pt x="189" y="70"/>
                      <a:pt x="189" y="70"/>
                    </a:cubicBezTo>
                    <a:cubicBezTo>
                      <a:pt x="189" y="70"/>
                      <a:pt x="188" y="72"/>
                      <a:pt x="187" y="73"/>
                    </a:cubicBezTo>
                    <a:cubicBezTo>
                      <a:pt x="186" y="73"/>
                      <a:pt x="181" y="74"/>
                      <a:pt x="181" y="74"/>
                    </a:cubicBezTo>
                    <a:cubicBezTo>
                      <a:pt x="181" y="74"/>
                      <a:pt x="179" y="72"/>
                      <a:pt x="179" y="71"/>
                    </a:cubicBezTo>
                    <a:cubicBezTo>
                      <a:pt x="178" y="69"/>
                      <a:pt x="175" y="69"/>
                      <a:pt x="174" y="68"/>
                    </a:cubicBezTo>
                    <a:cubicBezTo>
                      <a:pt x="174" y="67"/>
                      <a:pt x="175" y="66"/>
                      <a:pt x="173" y="64"/>
                    </a:cubicBezTo>
                    <a:cubicBezTo>
                      <a:pt x="172" y="62"/>
                      <a:pt x="173" y="63"/>
                      <a:pt x="172" y="61"/>
                    </a:cubicBezTo>
                    <a:cubicBezTo>
                      <a:pt x="170" y="59"/>
                      <a:pt x="170" y="59"/>
                      <a:pt x="170" y="59"/>
                    </a:cubicBezTo>
                    <a:cubicBezTo>
                      <a:pt x="170" y="59"/>
                      <a:pt x="166" y="58"/>
                      <a:pt x="167" y="60"/>
                    </a:cubicBezTo>
                    <a:cubicBezTo>
                      <a:pt x="168" y="63"/>
                      <a:pt x="167" y="65"/>
                      <a:pt x="168" y="65"/>
                    </a:cubicBezTo>
                    <a:cubicBezTo>
                      <a:pt x="169" y="66"/>
                      <a:pt x="170" y="65"/>
                      <a:pt x="171" y="67"/>
                    </a:cubicBezTo>
                    <a:cubicBezTo>
                      <a:pt x="172" y="69"/>
                      <a:pt x="172" y="70"/>
                      <a:pt x="172" y="71"/>
                    </a:cubicBezTo>
                    <a:cubicBezTo>
                      <a:pt x="173" y="71"/>
                      <a:pt x="173" y="74"/>
                      <a:pt x="174" y="75"/>
                    </a:cubicBezTo>
                    <a:cubicBezTo>
                      <a:pt x="175" y="75"/>
                      <a:pt x="178" y="75"/>
                      <a:pt x="178" y="76"/>
                    </a:cubicBezTo>
                    <a:cubicBezTo>
                      <a:pt x="177" y="77"/>
                      <a:pt x="176" y="78"/>
                      <a:pt x="178" y="79"/>
                    </a:cubicBezTo>
                    <a:cubicBezTo>
                      <a:pt x="179" y="79"/>
                      <a:pt x="179" y="80"/>
                      <a:pt x="180" y="80"/>
                    </a:cubicBezTo>
                    <a:cubicBezTo>
                      <a:pt x="181" y="80"/>
                      <a:pt x="181" y="80"/>
                      <a:pt x="182" y="79"/>
                    </a:cubicBezTo>
                    <a:cubicBezTo>
                      <a:pt x="184" y="79"/>
                      <a:pt x="186" y="79"/>
                      <a:pt x="186" y="79"/>
                    </a:cubicBezTo>
                    <a:cubicBezTo>
                      <a:pt x="186" y="79"/>
                      <a:pt x="188" y="80"/>
                      <a:pt x="188" y="81"/>
                    </a:cubicBezTo>
                    <a:cubicBezTo>
                      <a:pt x="188" y="82"/>
                      <a:pt x="187" y="86"/>
                      <a:pt x="187" y="86"/>
                    </a:cubicBezTo>
                    <a:cubicBezTo>
                      <a:pt x="185" y="90"/>
                      <a:pt x="185" y="90"/>
                      <a:pt x="185" y="90"/>
                    </a:cubicBezTo>
                    <a:cubicBezTo>
                      <a:pt x="185" y="90"/>
                      <a:pt x="185" y="97"/>
                      <a:pt x="184" y="97"/>
                    </a:cubicBezTo>
                    <a:cubicBezTo>
                      <a:pt x="183" y="97"/>
                      <a:pt x="182" y="100"/>
                      <a:pt x="181" y="100"/>
                    </a:cubicBezTo>
                    <a:cubicBezTo>
                      <a:pt x="180" y="101"/>
                      <a:pt x="180" y="105"/>
                      <a:pt x="180" y="105"/>
                    </a:cubicBezTo>
                    <a:cubicBezTo>
                      <a:pt x="178" y="108"/>
                      <a:pt x="178" y="108"/>
                      <a:pt x="178" y="108"/>
                    </a:cubicBezTo>
                    <a:cubicBezTo>
                      <a:pt x="178" y="108"/>
                      <a:pt x="178" y="111"/>
                      <a:pt x="178" y="112"/>
                    </a:cubicBezTo>
                    <a:cubicBezTo>
                      <a:pt x="178" y="113"/>
                      <a:pt x="179" y="117"/>
                      <a:pt x="178" y="119"/>
                    </a:cubicBezTo>
                    <a:cubicBezTo>
                      <a:pt x="178" y="121"/>
                      <a:pt x="175" y="122"/>
                      <a:pt x="175" y="122"/>
                    </a:cubicBezTo>
                    <a:cubicBezTo>
                      <a:pt x="175" y="122"/>
                      <a:pt x="179" y="126"/>
                      <a:pt x="177" y="126"/>
                    </a:cubicBezTo>
                    <a:cubicBezTo>
                      <a:pt x="175" y="127"/>
                      <a:pt x="173" y="129"/>
                      <a:pt x="173" y="130"/>
                    </a:cubicBezTo>
                    <a:cubicBezTo>
                      <a:pt x="172" y="131"/>
                      <a:pt x="172" y="132"/>
                      <a:pt x="171" y="132"/>
                    </a:cubicBezTo>
                    <a:cubicBezTo>
                      <a:pt x="170" y="133"/>
                      <a:pt x="168" y="133"/>
                      <a:pt x="168" y="134"/>
                    </a:cubicBezTo>
                    <a:cubicBezTo>
                      <a:pt x="168" y="134"/>
                      <a:pt x="168" y="137"/>
                      <a:pt x="168" y="137"/>
                    </a:cubicBezTo>
                    <a:cubicBezTo>
                      <a:pt x="164" y="142"/>
                      <a:pt x="164" y="142"/>
                      <a:pt x="164" y="142"/>
                    </a:cubicBezTo>
                    <a:cubicBezTo>
                      <a:pt x="160" y="146"/>
                      <a:pt x="160" y="146"/>
                      <a:pt x="160" y="146"/>
                    </a:cubicBezTo>
                    <a:cubicBezTo>
                      <a:pt x="160" y="146"/>
                      <a:pt x="160" y="149"/>
                      <a:pt x="159" y="149"/>
                    </a:cubicBezTo>
                    <a:cubicBezTo>
                      <a:pt x="158" y="149"/>
                      <a:pt x="153" y="151"/>
                      <a:pt x="152" y="152"/>
                    </a:cubicBezTo>
                    <a:cubicBezTo>
                      <a:pt x="152" y="152"/>
                      <a:pt x="148" y="154"/>
                      <a:pt x="147" y="154"/>
                    </a:cubicBezTo>
                    <a:cubicBezTo>
                      <a:pt x="146" y="154"/>
                      <a:pt x="148" y="157"/>
                      <a:pt x="146" y="154"/>
                    </a:cubicBezTo>
                    <a:cubicBezTo>
                      <a:pt x="144" y="151"/>
                      <a:pt x="145" y="153"/>
                      <a:pt x="144" y="149"/>
                    </a:cubicBezTo>
                    <a:cubicBezTo>
                      <a:pt x="142" y="145"/>
                      <a:pt x="142" y="148"/>
                      <a:pt x="142" y="145"/>
                    </a:cubicBezTo>
                    <a:cubicBezTo>
                      <a:pt x="142" y="143"/>
                      <a:pt x="142" y="145"/>
                      <a:pt x="142" y="143"/>
                    </a:cubicBezTo>
                    <a:cubicBezTo>
                      <a:pt x="142" y="140"/>
                      <a:pt x="143" y="142"/>
                      <a:pt x="141" y="139"/>
                    </a:cubicBezTo>
                    <a:cubicBezTo>
                      <a:pt x="140" y="136"/>
                      <a:pt x="140" y="137"/>
                      <a:pt x="138" y="135"/>
                    </a:cubicBezTo>
                    <a:cubicBezTo>
                      <a:pt x="136" y="133"/>
                      <a:pt x="135" y="135"/>
                      <a:pt x="136" y="132"/>
                    </a:cubicBezTo>
                    <a:cubicBezTo>
                      <a:pt x="137" y="129"/>
                      <a:pt x="137" y="132"/>
                      <a:pt x="137" y="129"/>
                    </a:cubicBezTo>
                    <a:cubicBezTo>
                      <a:pt x="138" y="126"/>
                      <a:pt x="137" y="125"/>
                      <a:pt x="139" y="124"/>
                    </a:cubicBezTo>
                    <a:cubicBezTo>
                      <a:pt x="141" y="123"/>
                      <a:pt x="142" y="122"/>
                      <a:pt x="142" y="121"/>
                    </a:cubicBezTo>
                    <a:cubicBezTo>
                      <a:pt x="142" y="119"/>
                      <a:pt x="142" y="118"/>
                      <a:pt x="142" y="117"/>
                    </a:cubicBezTo>
                    <a:cubicBezTo>
                      <a:pt x="141" y="116"/>
                      <a:pt x="139" y="114"/>
                      <a:pt x="139" y="113"/>
                    </a:cubicBezTo>
                    <a:cubicBezTo>
                      <a:pt x="139" y="112"/>
                      <a:pt x="139" y="113"/>
                      <a:pt x="137" y="111"/>
                    </a:cubicBezTo>
                    <a:cubicBezTo>
                      <a:pt x="136" y="109"/>
                      <a:pt x="135" y="108"/>
                      <a:pt x="135" y="108"/>
                    </a:cubicBezTo>
                    <a:cubicBezTo>
                      <a:pt x="135" y="108"/>
                      <a:pt x="135" y="103"/>
                      <a:pt x="135" y="101"/>
                    </a:cubicBezTo>
                    <a:cubicBezTo>
                      <a:pt x="135" y="99"/>
                      <a:pt x="134" y="102"/>
                      <a:pt x="135" y="99"/>
                    </a:cubicBezTo>
                    <a:cubicBezTo>
                      <a:pt x="135" y="96"/>
                      <a:pt x="135" y="94"/>
                      <a:pt x="135" y="94"/>
                    </a:cubicBezTo>
                    <a:cubicBezTo>
                      <a:pt x="135" y="94"/>
                      <a:pt x="132" y="92"/>
                      <a:pt x="131" y="92"/>
                    </a:cubicBezTo>
                    <a:cubicBezTo>
                      <a:pt x="129" y="92"/>
                      <a:pt x="129" y="94"/>
                      <a:pt x="127" y="93"/>
                    </a:cubicBezTo>
                    <a:cubicBezTo>
                      <a:pt x="125" y="91"/>
                      <a:pt x="126" y="90"/>
                      <a:pt x="125" y="89"/>
                    </a:cubicBezTo>
                    <a:cubicBezTo>
                      <a:pt x="124" y="89"/>
                      <a:pt x="123" y="89"/>
                      <a:pt x="122" y="90"/>
                    </a:cubicBezTo>
                    <a:cubicBezTo>
                      <a:pt x="121" y="91"/>
                      <a:pt x="118" y="91"/>
                      <a:pt x="116" y="91"/>
                    </a:cubicBezTo>
                    <a:cubicBezTo>
                      <a:pt x="114" y="92"/>
                      <a:pt x="113" y="92"/>
                      <a:pt x="110" y="92"/>
                    </a:cubicBezTo>
                    <a:cubicBezTo>
                      <a:pt x="108" y="92"/>
                      <a:pt x="104" y="93"/>
                      <a:pt x="102" y="92"/>
                    </a:cubicBezTo>
                    <a:cubicBezTo>
                      <a:pt x="100" y="91"/>
                      <a:pt x="100" y="92"/>
                      <a:pt x="99" y="90"/>
                    </a:cubicBezTo>
                    <a:cubicBezTo>
                      <a:pt x="98" y="88"/>
                      <a:pt x="99" y="88"/>
                      <a:pt x="97" y="87"/>
                    </a:cubicBezTo>
                    <a:cubicBezTo>
                      <a:pt x="95" y="86"/>
                      <a:pt x="94" y="87"/>
                      <a:pt x="94" y="85"/>
                    </a:cubicBezTo>
                    <a:cubicBezTo>
                      <a:pt x="94" y="82"/>
                      <a:pt x="95" y="83"/>
                      <a:pt x="93" y="81"/>
                    </a:cubicBezTo>
                    <a:cubicBezTo>
                      <a:pt x="92" y="79"/>
                      <a:pt x="94" y="82"/>
                      <a:pt x="92" y="79"/>
                    </a:cubicBezTo>
                    <a:cubicBezTo>
                      <a:pt x="89" y="76"/>
                      <a:pt x="88" y="79"/>
                      <a:pt x="89" y="76"/>
                    </a:cubicBezTo>
                    <a:cubicBezTo>
                      <a:pt x="90" y="74"/>
                      <a:pt x="91" y="75"/>
                      <a:pt x="91" y="73"/>
                    </a:cubicBezTo>
                    <a:cubicBezTo>
                      <a:pt x="91" y="70"/>
                      <a:pt x="95" y="74"/>
                      <a:pt x="92" y="68"/>
                    </a:cubicBezTo>
                    <a:cubicBezTo>
                      <a:pt x="90" y="63"/>
                      <a:pt x="89" y="64"/>
                      <a:pt x="92" y="60"/>
                    </a:cubicBezTo>
                    <a:cubicBezTo>
                      <a:pt x="94" y="55"/>
                      <a:pt x="97" y="54"/>
                      <a:pt x="98" y="53"/>
                    </a:cubicBezTo>
                    <a:cubicBezTo>
                      <a:pt x="98" y="52"/>
                      <a:pt x="99" y="50"/>
                      <a:pt x="100" y="49"/>
                    </a:cubicBezTo>
                    <a:cubicBezTo>
                      <a:pt x="101" y="48"/>
                      <a:pt x="100" y="48"/>
                      <a:pt x="102" y="48"/>
                    </a:cubicBezTo>
                    <a:cubicBezTo>
                      <a:pt x="104" y="48"/>
                      <a:pt x="107" y="47"/>
                      <a:pt x="108" y="46"/>
                    </a:cubicBezTo>
                    <a:cubicBezTo>
                      <a:pt x="109" y="45"/>
                      <a:pt x="111" y="42"/>
                      <a:pt x="112" y="42"/>
                    </a:cubicBezTo>
                    <a:cubicBezTo>
                      <a:pt x="113" y="42"/>
                      <a:pt x="113" y="42"/>
                      <a:pt x="115" y="42"/>
                    </a:cubicBezTo>
                    <a:cubicBezTo>
                      <a:pt x="117" y="41"/>
                      <a:pt x="117" y="41"/>
                      <a:pt x="119" y="41"/>
                    </a:cubicBezTo>
                    <a:cubicBezTo>
                      <a:pt x="120" y="41"/>
                      <a:pt x="117" y="42"/>
                      <a:pt x="121" y="41"/>
                    </a:cubicBezTo>
                    <a:cubicBezTo>
                      <a:pt x="125" y="40"/>
                      <a:pt x="124" y="40"/>
                      <a:pt x="125" y="40"/>
                    </a:cubicBezTo>
                    <a:cubicBezTo>
                      <a:pt x="126" y="40"/>
                      <a:pt x="126" y="41"/>
                      <a:pt x="127" y="41"/>
                    </a:cubicBezTo>
                    <a:cubicBezTo>
                      <a:pt x="129" y="41"/>
                      <a:pt x="129" y="38"/>
                      <a:pt x="129" y="41"/>
                    </a:cubicBezTo>
                    <a:cubicBezTo>
                      <a:pt x="129" y="45"/>
                      <a:pt x="128" y="46"/>
                      <a:pt x="130" y="46"/>
                    </a:cubicBezTo>
                    <a:cubicBezTo>
                      <a:pt x="133" y="47"/>
                      <a:pt x="130" y="47"/>
                      <a:pt x="133" y="47"/>
                    </a:cubicBezTo>
                    <a:cubicBezTo>
                      <a:pt x="136" y="47"/>
                      <a:pt x="135" y="47"/>
                      <a:pt x="137" y="48"/>
                    </a:cubicBezTo>
                    <a:cubicBezTo>
                      <a:pt x="138" y="48"/>
                      <a:pt x="139" y="49"/>
                      <a:pt x="141" y="49"/>
                    </a:cubicBezTo>
                    <a:cubicBezTo>
                      <a:pt x="143" y="49"/>
                      <a:pt x="140" y="52"/>
                      <a:pt x="143" y="49"/>
                    </a:cubicBezTo>
                    <a:cubicBezTo>
                      <a:pt x="146" y="46"/>
                      <a:pt x="141" y="46"/>
                      <a:pt x="146" y="46"/>
                    </a:cubicBezTo>
                    <a:cubicBezTo>
                      <a:pt x="151" y="47"/>
                      <a:pt x="152" y="48"/>
                      <a:pt x="153" y="48"/>
                    </a:cubicBezTo>
                    <a:cubicBezTo>
                      <a:pt x="154" y="47"/>
                      <a:pt x="154" y="48"/>
                      <a:pt x="156" y="47"/>
                    </a:cubicBezTo>
                    <a:cubicBezTo>
                      <a:pt x="159" y="46"/>
                      <a:pt x="159" y="46"/>
                      <a:pt x="160" y="46"/>
                    </a:cubicBezTo>
                    <a:cubicBezTo>
                      <a:pt x="161" y="47"/>
                      <a:pt x="161" y="49"/>
                      <a:pt x="162" y="47"/>
                    </a:cubicBezTo>
                    <a:cubicBezTo>
                      <a:pt x="163" y="45"/>
                      <a:pt x="165" y="45"/>
                      <a:pt x="162" y="44"/>
                    </a:cubicBezTo>
                    <a:cubicBezTo>
                      <a:pt x="159" y="42"/>
                      <a:pt x="158" y="44"/>
                      <a:pt x="158" y="42"/>
                    </a:cubicBezTo>
                    <a:cubicBezTo>
                      <a:pt x="157" y="40"/>
                      <a:pt x="160" y="41"/>
                      <a:pt x="157" y="40"/>
                    </a:cubicBezTo>
                    <a:cubicBezTo>
                      <a:pt x="154" y="40"/>
                      <a:pt x="155" y="40"/>
                      <a:pt x="153" y="39"/>
                    </a:cubicBezTo>
                    <a:cubicBezTo>
                      <a:pt x="151" y="38"/>
                      <a:pt x="149" y="41"/>
                      <a:pt x="148" y="39"/>
                    </a:cubicBezTo>
                    <a:cubicBezTo>
                      <a:pt x="147" y="37"/>
                      <a:pt x="143" y="41"/>
                      <a:pt x="147" y="37"/>
                    </a:cubicBezTo>
                    <a:cubicBezTo>
                      <a:pt x="151" y="34"/>
                      <a:pt x="149" y="32"/>
                      <a:pt x="152" y="33"/>
                    </a:cubicBezTo>
                    <a:cubicBezTo>
                      <a:pt x="155" y="34"/>
                      <a:pt x="154" y="36"/>
                      <a:pt x="155" y="35"/>
                    </a:cubicBezTo>
                    <a:cubicBezTo>
                      <a:pt x="157" y="33"/>
                      <a:pt x="160" y="32"/>
                      <a:pt x="157" y="30"/>
                    </a:cubicBezTo>
                    <a:cubicBezTo>
                      <a:pt x="154" y="28"/>
                      <a:pt x="156" y="29"/>
                      <a:pt x="153" y="28"/>
                    </a:cubicBezTo>
                    <a:cubicBezTo>
                      <a:pt x="150" y="26"/>
                      <a:pt x="147" y="33"/>
                      <a:pt x="146" y="32"/>
                    </a:cubicBezTo>
                    <a:cubicBezTo>
                      <a:pt x="145" y="31"/>
                      <a:pt x="144" y="30"/>
                      <a:pt x="143" y="31"/>
                    </a:cubicBezTo>
                    <a:cubicBezTo>
                      <a:pt x="142" y="31"/>
                      <a:pt x="142" y="34"/>
                      <a:pt x="142" y="36"/>
                    </a:cubicBezTo>
                    <a:cubicBezTo>
                      <a:pt x="142" y="38"/>
                      <a:pt x="143" y="38"/>
                      <a:pt x="140" y="37"/>
                    </a:cubicBezTo>
                    <a:cubicBezTo>
                      <a:pt x="137" y="35"/>
                      <a:pt x="144" y="36"/>
                      <a:pt x="137" y="33"/>
                    </a:cubicBezTo>
                    <a:cubicBezTo>
                      <a:pt x="130" y="31"/>
                      <a:pt x="128" y="31"/>
                      <a:pt x="127" y="32"/>
                    </a:cubicBezTo>
                    <a:cubicBezTo>
                      <a:pt x="126" y="33"/>
                      <a:pt x="125" y="33"/>
                      <a:pt x="124" y="34"/>
                    </a:cubicBezTo>
                    <a:cubicBezTo>
                      <a:pt x="123" y="35"/>
                      <a:pt x="126" y="36"/>
                      <a:pt x="123" y="35"/>
                    </a:cubicBezTo>
                    <a:cubicBezTo>
                      <a:pt x="120" y="33"/>
                      <a:pt x="118" y="35"/>
                      <a:pt x="118" y="35"/>
                    </a:cubicBezTo>
                    <a:cubicBezTo>
                      <a:pt x="118" y="35"/>
                      <a:pt x="117" y="35"/>
                      <a:pt x="116" y="36"/>
                    </a:cubicBezTo>
                    <a:cubicBezTo>
                      <a:pt x="114" y="37"/>
                      <a:pt x="112" y="38"/>
                      <a:pt x="111" y="37"/>
                    </a:cubicBezTo>
                    <a:cubicBezTo>
                      <a:pt x="109" y="37"/>
                      <a:pt x="106" y="38"/>
                      <a:pt x="109" y="34"/>
                    </a:cubicBezTo>
                    <a:cubicBezTo>
                      <a:pt x="111" y="31"/>
                      <a:pt x="109" y="33"/>
                      <a:pt x="113" y="31"/>
                    </a:cubicBezTo>
                    <a:cubicBezTo>
                      <a:pt x="117" y="30"/>
                      <a:pt x="123" y="29"/>
                      <a:pt x="118" y="28"/>
                    </a:cubicBezTo>
                    <a:cubicBezTo>
                      <a:pt x="113" y="27"/>
                      <a:pt x="121" y="27"/>
                      <a:pt x="114" y="24"/>
                    </a:cubicBezTo>
                    <a:cubicBezTo>
                      <a:pt x="107" y="21"/>
                      <a:pt x="107" y="25"/>
                      <a:pt x="107" y="21"/>
                    </a:cubicBezTo>
                    <a:cubicBezTo>
                      <a:pt x="108" y="16"/>
                      <a:pt x="107" y="16"/>
                      <a:pt x="106" y="16"/>
                    </a:cubicBezTo>
                    <a:cubicBezTo>
                      <a:pt x="104" y="16"/>
                      <a:pt x="100" y="17"/>
                      <a:pt x="98" y="18"/>
                    </a:cubicBezTo>
                    <a:cubicBezTo>
                      <a:pt x="97" y="18"/>
                      <a:pt x="99" y="19"/>
                      <a:pt x="96" y="17"/>
                    </a:cubicBezTo>
                    <a:cubicBezTo>
                      <a:pt x="92" y="15"/>
                      <a:pt x="91" y="18"/>
                      <a:pt x="92" y="15"/>
                    </a:cubicBezTo>
                    <a:cubicBezTo>
                      <a:pt x="94" y="13"/>
                      <a:pt x="94" y="12"/>
                      <a:pt x="96" y="11"/>
                    </a:cubicBezTo>
                    <a:cubicBezTo>
                      <a:pt x="98" y="9"/>
                      <a:pt x="97" y="3"/>
                      <a:pt x="102" y="5"/>
                    </a:cubicBezTo>
                    <a:cubicBezTo>
                      <a:pt x="106" y="8"/>
                      <a:pt x="105" y="7"/>
                      <a:pt x="108" y="7"/>
                    </a:cubicBezTo>
                    <a:cubicBezTo>
                      <a:pt x="112" y="7"/>
                      <a:pt x="114" y="7"/>
                      <a:pt x="114" y="6"/>
                    </a:cubicBezTo>
                    <a:cubicBezTo>
                      <a:pt x="114" y="5"/>
                      <a:pt x="109" y="3"/>
                      <a:pt x="109" y="3"/>
                    </a:cubicBezTo>
                    <a:cubicBezTo>
                      <a:pt x="109" y="3"/>
                      <a:pt x="108" y="4"/>
                      <a:pt x="109" y="3"/>
                    </a:cubicBezTo>
                    <a:cubicBezTo>
                      <a:pt x="109" y="2"/>
                      <a:pt x="110" y="1"/>
                      <a:pt x="110" y="1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96" y="0"/>
                      <a:pt x="9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5" name="Freeform 36">
                <a:extLst>
                  <a:ext uri="{FF2B5EF4-FFF2-40B4-BE49-F238E27FC236}">
                    <a16:creationId xmlns:a16="http://schemas.microsoft.com/office/drawing/2014/main" id="{EE25DC99-9986-4E31-AF4F-3624F80849D8}"/>
                  </a:ext>
                </a:extLst>
              </p:cNvPr>
              <p:cNvSpPr/>
              <p:nvPr/>
            </p:nvSpPr>
            <p:spPr bwMode="auto">
              <a:xfrm>
                <a:off x="8729663" y="4613275"/>
                <a:ext cx="141288" cy="168275"/>
              </a:xfrm>
              <a:custGeom>
                <a:avLst/>
                <a:gdLst>
                  <a:gd name="T0" fmla="*/ 45 w 65"/>
                  <a:gd name="T1" fmla="*/ 5 h 77"/>
                  <a:gd name="T2" fmla="*/ 45 w 65"/>
                  <a:gd name="T3" fmla="*/ 28 h 77"/>
                  <a:gd name="T4" fmla="*/ 25 w 65"/>
                  <a:gd name="T5" fmla="*/ 45 h 77"/>
                  <a:gd name="T6" fmla="*/ 1 w 65"/>
                  <a:gd name="T7" fmla="*/ 64 h 77"/>
                  <a:gd name="T8" fmla="*/ 65 w 65"/>
                  <a:gd name="T9" fmla="*/ 77 h 77"/>
                  <a:gd name="T10" fmla="*/ 65 w 65"/>
                  <a:gd name="T11" fmla="*/ 0 h 77"/>
                  <a:gd name="T12" fmla="*/ 45 w 65"/>
                  <a:gd name="T13" fmla="*/ 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77">
                    <a:moveTo>
                      <a:pt x="45" y="5"/>
                    </a:moveTo>
                    <a:cubicBezTo>
                      <a:pt x="45" y="28"/>
                      <a:pt x="45" y="28"/>
                      <a:pt x="45" y="28"/>
                    </a:cubicBezTo>
                    <a:cubicBezTo>
                      <a:pt x="45" y="28"/>
                      <a:pt x="39" y="40"/>
                      <a:pt x="25" y="45"/>
                    </a:cubicBezTo>
                    <a:cubicBezTo>
                      <a:pt x="12" y="49"/>
                      <a:pt x="0" y="56"/>
                      <a:pt x="1" y="64"/>
                    </a:cubicBezTo>
                    <a:cubicBezTo>
                      <a:pt x="2" y="71"/>
                      <a:pt x="18" y="77"/>
                      <a:pt x="65" y="77"/>
                    </a:cubicBezTo>
                    <a:cubicBezTo>
                      <a:pt x="65" y="0"/>
                      <a:pt x="65" y="0"/>
                      <a:pt x="65" y="0"/>
                    </a:cubicBezTo>
                    <a:lnTo>
                      <a:pt x="4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6" name="Freeform 37">
                <a:extLst>
                  <a:ext uri="{FF2B5EF4-FFF2-40B4-BE49-F238E27FC236}">
                    <a16:creationId xmlns:a16="http://schemas.microsoft.com/office/drawing/2014/main" id="{7A1D7574-CB2A-4743-8433-13DEFCA9CA94}"/>
                  </a:ext>
                </a:extLst>
              </p:cNvPr>
              <p:cNvSpPr/>
              <p:nvPr/>
            </p:nvSpPr>
            <p:spPr bwMode="auto">
              <a:xfrm>
                <a:off x="8855075" y="4613275"/>
                <a:ext cx="134938" cy="168275"/>
              </a:xfrm>
              <a:custGeom>
                <a:avLst/>
                <a:gdLst>
                  <a:gd name="T0" fmla="*/ 14 w 62"/>
                  <a:gd name="T1" fmla="*/ 5 h 77"/>
                  <a:gd name="T2" fmla="*/ 14 w 62"/>
                  <a:gd name="T3" fmla="*/ 28 h 77"/>
                  <a:gd name="T4" fmla="*/ 32 w 62"/>
                  <a:gd name="T5" fmla="*/ 45 h 77"/>
                  <a:gd name="T6" fmla="*/ 61 w 62"/>
                  <a:gd name="T7" fmla="*/ 64 h 77"/>
                  <a:gd name="T8" fmla="*/ 0 w 62"/>
                  <a:gd name="T9" fmla="*/ 77 h 77"/>
                  <a:gd name="T10" fmla="*/ 0 w 62"/>
                  <a:gd name="T11" fmla="*/ 0 h 77"/>
                  <a:gd name="T12" fmla="*/ 14 w 62"/>
                  <a:gd name="T13" fmla="*/ 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77">
                    <a:moveTo>
                      <a:pt x="14" y="5"/>
                    </a:move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28"/>
                      <a:pt x="19" y="40"/>
                      <a:pt x="32" y="45"/>
                    </a:cubicBezTo>
                    <a:cubicBezTo>
                      <a:pt x="46" y="49"/>
                      <a:pt x="62" y="56"/>
                      <a:pt x="61" y="64"/>
                    </a:cubicBezTo>
                    <a:cubicBezTo>
                      <a:pt x="60" y="71"/>
                      <a:pt x="34" y="77"/>
                      <a:pt x="0" y="7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7" name="Freeform 38">
                <a:extLst>
                  <a:ext uri="{FF2B5EF4-FFF2-40B4-BE49-F238E27FC236}">
                    <a16:creationId xmlns:a16="http://schemas.microsoft.com/office/drawing/2014/main" id="{FD2A7E5D-7AC7-42EF-BC1D-A421D8B70C88}"/>
                  </a:ext>
                </a:extLst>
              </p:cNvPr>
              <p:cNvSpPr/>
              <p:nvPr/>
            </p:nvSpPr>
            <p:spPr bwMode="auto">
              <a:xfrm>
                <a:off x="8618538" y="4127500"/>
                <a:ext cx="500063" cy="503238"/>
              </a:xfrm>
              <a:custGeom>
                <a:avLst/>
                <a:gdLst>
                  <a:gd name="T0" fmla="*/ 169 w 230"/>
                  <a:gd name="T1" fmla="*/ 12 h 231"/>
                  <a:gd name="T2" fmla="*/ 215 w 230"/>
                  <a:gd name="T3" fmla="*/ 103 h 231"/>
                  <a:gd name="T4" fmla="*/ 102 w 230"/>
                  <a:gd name="T5" fmla="*/ 216 h 231"/>
                  <a:gd name="T6" fmla="*/ 12 w 230"/>
                  <a:gd name="T7" fmla="*/ 171 h 231"/>
                  <a:gd name="T8" fmla="*/ 0 w 230"/>
                  <a:gd name="T9" fmla="*/ 181 h 231"/>
                  <a:gd name="T10" fmla="*/ 102 w 230"/>
                  <a:gd name="T11" fmla="*/ 231 h 231"/>
                  <a:gd name="T12" fmla="*/ 230 w 230"/>
                  <a:gd name="T13" fmla="*/ 103 h 231"/>
                  <a:gd name="T14" fmla="*/ 178 w 230"/>
                  <a:gd name="T15" fmla="*/ 0 h 231"/>
                  <a:gd name="T16" fmla="*/ 169 w 230"/>
                  <a:gd name="T17" fmla="*/ 1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231">
                    <a:moveTo>
                      <a:pt x="169" y="12"/>
                    </a:moveTo>
                    <a:cubicBezTo>
                      <a:pt x="197" y="32"/>
                      <a:pt x="215" y="65"/>
                      <a:pt x="215" y="103"/>
                    </a:cubicBezTo>
                    <a:cubicBezTo>
                      <a:pt x="215" y="165"/>
                      <a:pt x="165" y="216"/>
                      <a:pt x="102" y="216"/>
                    </a:cubicBezTo>
                    <a:cubicBezTo>
                      <a:pt x="65" y="216"/>
                      <a:pt x="33" y="198"/>
                      <a:pt x="12" y="17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24" y="211"/>
                      <a:pt x="61" y="231"/>
                      <a:pt x="102" y="231"/>
                    </a:cubicBezTo>
                    <a:cubicBezTo>
                      <a:pt x="173" y="231"/>
                      <a:pt x="230" y="174"/>
                      <a:pt x="230" y="103"/>
                    </a:cubicBezTo>
                    <a:cubicBezTo>
                      <a:pt x="230" y="61"/>
                      <a:pt x="210" y="23"/>
                      <a:pt x="178" y="0"/>
                    </a:cubicBezTo>
                    <a:lnTo>
                      <a:pt x="169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8" name="Freeform 39">
                <a:extLst>
                  <a:ext uri="{FF2B5EF4-FFF2-40B4-BE49-F238E27FC236}">
                    <a16:creationId xmlns:a16="http://schemas.microsoft.com/office/drawing/2014/main" id="{F5FA446F-0FB6-4B3B-92FC-F11DDA194F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21713" y="4137025"/>
                <a:ext cx="442913" cy="441325"/>
              </a:xfrm>
              <a:custGeom>
                <a:avLst/>
                <a:gdLst>
                  <a:gd name="T0" fmla="*/ 102 w 203"/>
                  <a:gd name="T1" fmla="*/ 203 h 203"/>
                  <a:gd name="T2" fmla="*/ 203 w 203"/>
                  <a:gd name="T3" fmla="*/ 101 h 203"/>
                  <a:gd name="T4" fmla="*/ 102 w 203"/>
                  <a:gd name="T5" fmla="*/ 0 h 203"/>
                  <a:gd name="T6" fmla="*/ 102 w 203"/>
                  <a:gd name="T7" fmla="*/ 5 h 203"/>
                  <a:gd name="T8" fmla="*/ 198 w 203"/>
                  <a:gd name="T9" fmla="*/ 101 h 203"/>
                  <a:gd name="T10" fmla="*/ 102 w 203"/>
                  <a:gd name="T11" fmla="*/ 198 h 203"/>
                  <a:gd name="T12" fmla="*/ 102 w 203"/>
                  <a:gd name="T13" fmla="*/ 203 h 203"/>
                  <a:gd name="T14" fmla="*/ 102 w 203"/>
                  <a:gd name="T15" fmla="*/ 0 h 203"/>
                  <a:gd name="T16" fmla="*/ 0 w 203"/>
                  <a:gd name="T17" fmla="*/ 101 h 203"/>
                  <a:gd name="T18" fmla="*/ 102 w 203"/>
                  <a:gd name="T19" fmla="*/ 203 h 203"/>
                  <a:gd name="T20" fmla="*/ 102 w 203"/>
                  <a:gd name="T21" fmla="*/ 203 h 203"/>
                  <a:gd name="T22" fmla="*/ 102 w 203"/>
                  <a:gd name="T23" fmla="*/ 198 h 203"/>
                  <a:gd name="T24" fmla="*/ 102 w 203"/>
                  <a:gd name="T25" fmla="*/ 198 h 203"/>
                  <a:gd name="T26" fmla="*/ 102 w 203"/>
                  <a:gd name="T27" fmla="*/ 198 h 203"/>
                  <a:gd name="T28" fmla="*/ 5 w 203"/>
                  <a:gd name="T29" fmla="*/ 101 h 203"/>
                  <a:gd name="T30" fmla="*/ 102 w 203"/>
                  <a:gd name="T31" fmla="*/ 5 h 203"/>
                  <a:gd name="T32" fmla="*/ 102 w 203"/>
                  <a:gd name="T33" fmla="*/ 5 h 203"/>
                  <a:gd name="T34" fmla="*/ 102 w 203"/>
                  <a:gd name="T35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203">
                    <a:moveTo>
                      <a:pt x="102" y="203"/>
                    </a:moveTo>
                    <a:cubicBezTo>
                      <a:pt x="158" y="203"/>
                      <a:pt x="203" y="157"/>
                      <a:pt x="203" y="101"/>
                    </a:cubicBezTo>
                    <a:cubicBezTo>
                      <a:pt x="203" y="45"/>
                      <a:pt x="158" y="0"/>
                      <a:pt x="102" y="0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55" y="5"/>
                      <a:pt x="198" y="48"/>
                      <a:pt x="198" y="101"/>
                    </a:cubicBezTo>
                    <a:cubicBezTo>
                      <a:pt x="198" y="155"/>
                      <a:pt x="155" y="198"/>
                      <a:pt x="102" y="198"/>
                    </a:cubicBezTo>
                    <a:lnTo>
                      <a:pt x="102" y="203"/>
                    </a:lnTo>
                    <a:close/>
                    <a:moveTo>
                      <a:pt x="102" y="0"/>
                    </a:moveTo>
                    <a:cubicBezTo>
                      <a:pt x="46" y="0"/>
                      <a:pt x="0" y="45"/>
                      <a:pt x="0" y="101"/>
                    </a:cubicBezTo>
                    <a:cubicBezTo>
                      <a:pt x="0" y="157"/>
                      <a:pt x="46" y="203"/>
                      <a:pt x="102" y="203"/>
                    </a:cubicBezTo>
                    <a:cubicBezTo>
                      <a:pt x="102" y="203"/>
                      <a:pt x="102" y="203"/>
                      <a:pt x="102" y="203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48" y="198"/>
                      <a:pt x="5" y="155"/>
                      <a:pt x="5" y="101"/>
                    </a:cubicBezTo>
                    <a:cubicBezTo>
                      <a:pt x="5" y="48"/>
                      <a:pt x="48" y="5"/>
                      <a:pt x="102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2" y="0"/>
                      <a:pt x="102" y="0"/>
                      <a:pt x="10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9" name="Freeform 40">
                <a:extLst>
                  <a:ext uri="{FF2B5EF4-FFF2-40B4-BE49-F238E27FC236}">
                    <a16:creationId xmlns:a16="http://schemas.microsoft.com/office/drawing/2014/main" id="{41212041-C32E-46AF-8492-49BA6AF8232F}"/>
                  </a:ext>
                </a:extLst>
              </p:cNvPr>
              <p:cNvSpPr/>
              <p:nvPr/>
            </p:nvSpPr>
            <p:spPr bwMode="auto">
              <a:xfrm>
                <a:off x="8610600" y="4144963"/>
                <a:ext cx="496888" cy="433388"/>
              </a:xfrm>
              <a:custGeom>
                <a:avLst/>
                <a:gdLst>
                  <a:gd name="T0" fmla="*/ 65 w 228"/>
                  <a:gd name="T1" fmla="*/ 15 h 199"/>
                  <a:gd name="T2" fmla="*/ 61 w 228"/>
                  <a:gd name="T3" fmla="*/ 23 h 199"/>
                  <a:gd name="T4" fmla="*/ 57 w 228"/>
                  <a:gd name="T5" fmla="*/ 29 h 199"/>
                  <a:gd name="T6" fmla="*/ 54 w 228"/>
                  <a:gd name="T7" fmla="*/ 26 h 199"/>
                  <a:gd name="T8" fmla="*/ 52 w 228"/>
                  <a:gd name="T9" fmla="*/ 32 h 199"/>
                  <a:gd name="T10" fmla="*/ 42 w 228"/>
                  <a:gd name="T11" fmla="*/ 34 h 199"/>
                  <a:gd name="T12" fmla="*/ 36 w 228"/>
                  <a:gd name="T13" fmla="*/ 41 h 199"/>
                  <a:gd name="T14" fmla="*/ 27 w 228"/>
                  <a:gd name="T15" fmla="*/ 53 h 199"/>
                  <a:gd name="T16" fmla="*/ 21 w 228"/>
                  <a:gd name="T17" fmla="*/ 61 h 199"/>
                  <a:gd name="T18" fmla="*/ 27 w 228"/>
                  <a:gd name="T19" fmla="*/ 67 h 199"/>
                  <a:gd name="T20" fmla="*/ 27 w 228"/>
                  <a:gd name="T21" fmla="*/ 70 h 199"/>
                  <a:gd name="T22" fmla="*/ 22 w 228"/>
                  <a:gd name="T23" fmla="*/ 65 h 199"/>
                  <a:gd name="T24" fmla="*/ 18 w 228"/>
                  <a:gd name="T25" fmla="*/ 60 h 199"/>
                  <a:gd name="T26" fmla="*/ 16 w 228"/>
                  <a:gd name="T27" fmla="*/ 69 h 199"/>
                  <a:gd name="T28" fmla="*/ 17 w 228"/>
                  <a:gd name="T29" fmla="*/ 83 h 199"/>
                  <a:gd name="T30" fmla="*/ 24 w 228"/>
                  <a:gd name="T31" fmla="*/ 80 h 199"/>
                  <a:gd name="T32" fmla="*/ 32 w 228"/>
                  <a:gd name="T33" fmla="*/ 88 h 199"/>
                  <a:gd name="T34" fmla="*/ 41 w 228"/>
                  <a:gd name="T35" fmla="*/ 98 h 199"/>
                  <a:gd name="T36" fmla="*/ 50 w 228"/>
                  <a:gd name="T37" fmla="*/ 105 h 199"/>
                  <a:gd name="T38" fmla="*/ 61 w 228"/>
                  <a:gd name="T39" fmla="*/ 117 h 199"/>
                  <a:gd name="T40" fmla="*/ 58 w 228"/>
                  <a:gd name="T41" fmla="*/ 134 h 199"/>
                  <a:gd name="T42" fmla="*/ 49 w 228"/>
                  <a:gd name="T43" fmla="*/ 155 h 199"/>
                  <a:gd name="T44" fmla="*/ 52 w 228"/>
                  <a:gd name="T45" fmla="*/ 170 h 199"/>
                  <a:gd name="T46" fmla="*/ 46 w 228"/>
                  <a:gd name="T47" fmla="*/ 171 h 199"/>
                  <a:gd name="T48" fmla="*/ 32 w 228"/>
                  <a:gd name="T49" fmla="*/ 148 h 199"/>
                  <a:gd name="T50" fmla="*/ 16 w 228"/>
                  <a:gd name="T51" fmla="*/ 113 h 199"/>
                  <a:gd name="T52" fmla="*/ 11 w 228"/>
                  <a:gd name="T53" fmla="*/ 87 h 199"/>
                  <a:gd name="T54" fmla="*/ 73 w 228"/>
                  <a:gd name="T55" fmla="*/ 183 h 199"/>
                  <a:gd name="T56" fmla="*/ 89 w 228"/>
                  <a:gd name="T57" fmla="*/ 181 h 199"/>
                  <a:gd name="T58" fmla="*/ 110 w 228"/>
                  <a:gd name="T59" fmla="*/ 178 h 199"/>
                  <a:gd name="T60" fmla="*/ 108 w 228"/>
                  <a:gd name="T61" fmla="*/ 187 h 199"/>
                  <a:gd name="T62" fmla="*/ 121 w 228"/>
                  <a:gd name="T63" fmla="*/ 186 h 199"/>
                  <a:gd name="T64" fmla="*/ 139 w 228"/>
                  <a:gd name="T65" fmla="*/ 184 h 199"/>
                  <a:gd name="T66" fmla="*/ 137 w 228"/>
                  <a:gd name="T67" fmla="*/ 3 h 199"/>
                  <a:gd name="T68" fmla="*/ 197 w 228"/>
                  <a:gd name="T69" fmla="*/ 64 h 199"/>
                  <a:gd name="T70" fmla="*/ 189 w 228"/>
                  <a:gd name="T71" fmla="*/ 58 h 199"/>
                  <a:gd name="T72" fmla="*/ 181 w 228"/>
                  <a:gd name="T73" fmla="*/ 74 h 199"/>
                  <a:gd name="T74" fmla="*/ 170 w 228"/>
                  <a:gd name="T75" fmla="*/ 59 h 199"/>
                  <a:gd name="T76" fmla="*/ 174 w 228"/>
                  <a:gd name="T77" fmla="*/ 75 h 199"/>
                  <a:gd name="T78" fmla="*/ 186 w 228"/>
                  <a:gd name="T79" fmla="*/ 79 h 199"/>
                  <a:gd name="T80" fmla="*/ 181 w 228"/>
                  <a:gd name="T81" fmla="*/ 100 h 199"/>
                  <a:gd name="T82" fmla="*/ 175 w 228"/>
                  <a:gd name="T83" fmla="*/ 122 h 199"/>
                  <a:gd name="T84" fmla="*/ 168 w 228"/>
                  <a:gd name="T85" fmla="*/ 137 h 199"/>
                  <a:gd name="T86" fmla="*/ 147 w 228"/>
                  <a:gd name="T87" fmla="*/ 154 h 199"/>
                  <a:gd name="T88" fmla="*/ 141 w 228"/>
                  <a:gd name="T89" fmla="*/ 139 h 199"/>
                  <a:gd name="T90" fmla="*/ 142 w 228"/>
                  <a:gd name="T91" fmla="*/ 121 h 199"/>
                  <a:gd name="T92" fmla="*/ 135 w 228"/>
                  <a:gd name="T93" fmla="*/ 101 h 199"/>
                  <a:gd name="T94" fmla="*/ 125 w 228"/>
                  <a:gd name="T95" fmla="*/ 89 h 199"/>
                  <a:gd name="T96" fmla="*/ 99 w 228"/>
                  <a:gd name="T97" fmla="*/ 90 h 199"/>
                  <a:gd name="T98" fmla="*/ 89 w 228"/>
                  <a:gd name="T99" fmla="*/ 76 h 199"/>
                  <a:gd name="T100" fmla="*/ 100 w 228"/>
                  <a:gd name="T101" fmla="*/ 49 h 199"/>
                  <a:gd name="T102" fmla="*/ 119 w 228"/>
                  <a:gd name="T103" fmla="*/ 41 h 199"/>
                  <a:gd name="T104" fmla="*/ 130 w 228"/>
                  <a:gd name="T105" fmla="*/ 46 h 199"/>
                  <a:gd name="T106" fmla="*/ 146 w 228"/>
                  <a:gd name="T107" fmla="*/ 46 h 199"/>
                  <a:gd name="T108" fmla="*/ 162 w 228"/>
                  <a:gd name="T109" fmla="*/ 44 h 199"/>
                  <a:gd name="T110" fmla="*/ 147 w 228"/>
                  <a:gd name="T111" fmla="*/ 37 h 199"/>
                  <a:gd name="T112" fmla="*/ 146 w 228"/>
                  <a:gd name="T113" fmla="*/ 32 h 199"/>
                  <a:gd name="T114" fmla="*/ 127 w 228"/>
                  <a:gd name="T115" fmla="*/ 32 h 199"/>
                  <a:gd name="T116" fmla="*/ 111 w 228"/>
                  <a:gd name="T117" fmla="*/ 37 h 199"/>
                  <a:gd name="T118" fmla="*/ 107 w 228"/>
                  <a:gd name="T119" fmla="*/ 21 h 199"/>
                  <a:gd name="T120" fmla="*/ 96 w 228"/>
                  <a:gd name="T121" fmla="*/ 11 h 199"/>
                  <a:gd name="T122" fmla="*/ 109 w 228"/>
                  <a:gd name="T123" fmla="*/ 3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8" h="199">
                    <a:moveTo>
                      <a:pt x="92" y="0"/>
                    </a:moveTo>
                    <a:cubicBezTo>
                      <a:pt x="92" y="0"/>
                      <a:pt x="58" y="5"/>
                      <a:pt x="35" y="31"/>
                    </a:cubicBezTo>
                    <a:cubicBezTo>
                      <a:pt x="35" y="31"/>
                      <a:pt x="53" y="13"/>
                      <a:pt x="64" y="1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6" y="14"/>
                      <a:pt x="66" y="15"/>
                      <a:pt x="65" y="15"/>
                    </a:cubicBezTo>
                    <a:cubicBezTo>
                      <a:pt x="65" y="16"/>
                      <a:pt x="64" y="17"/>
                      <a:pt x="64" y="18"/>
                    </a:cubicBezTo>
                    <a:cubicBezTo>
                      <a:pt x="64" y="18"/>
                      <a:pt x="64" y="20"/>
                      <a:pt x="64" y="20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3" y="21"/>
                      <a:pt x="62" y="21"/>
                      <a:pt x="62" y="22"/>
                    </a:cubicBezTo>
                    <a:cubicBezTo>
                      <a:pt x="62" y="22"/>
                      <a:pt x="61" y="22"/>
                      <a:pt x="61" y="23"/>
                    </a:cubicBezTo>
                    <a:cubicBezTo>
                      <a:pt x="61" y="24"/>
                      <a:pt x="61" y="25"/>
                      <a:pt x="61" y="25"/>
                    </a:cubicBezTo>
                    <a:cubicBezTo>
                      <a:pt x="62" y="27"/>
                      <a:pt x="62" y="27"/>
                      <a:pt x="62" y="27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59" y="29"/>
                      <a:pt x="59" y="29"/>
                      <a:pt x="59" y="29"/>
                    </a:cubicBezTo>
                    <a:cubicBezTo>
                      <a:pt x="59" y="29"/>
                      <a:pt x="58" y="29"/>
                      <a:pt x="57" y="29"/>
                    </a:cubicBezTo>
                    <a:cubicBezTo>
                      <a:pt x="56" y="29"/>
                      <a:pt x="56" y="27"/>
                      <a:pt x="56" y="27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8" y="26"/>
                      <a:pt x="58" y="26"/>
                      <a:pt x="58" y="25"/>
                    </a:cubicBezTo>
                    <a:cubicBezTo>
                      <a:pt x="57" y="25"/>
                      <a:pt x="57" y="24"/>
                      <a:pt x="56" y="24"/>
                    </a:cubicBezTo>
                    <a:cubicBezTo>
                      <a:pt x="55" y="24"/>
                      <a:pt x="54" y="26"/>
                      <a:pt x="54" y="26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52" y="27"/>
                      <a:pt x="51" y="29"/>
                      <a:pt x="51" y="29"/>
                    </a:cubicBezTo>
                    <a:cubicBezTo>
                      <a:pt x="52" y="29"/>
                      <a:pt x="53" y="29"/>
                      <a:pt x="53" y="29"/>
                    </a:cubicBezTo>
                    <a:cubicBezTo>
                      <a:pt x="53" y="29"/>
                      <a:pt x="53" y="30"/>
                      <a:pt x="53" y="31"/>
                    </a:cubicBezTo>
                    <a:cubicBezTo>
                      <a:pt x="53" y="31"/>
                      <a:pt x="52" y="32"/>
                      <a:pt x="52" y="32"/>
                    </a:cubicBezTo>
                    <a:cubicBezTo>
                      <a:pt x="52" y="32"/>
                      <a:pt x="52" y="33"/>
                      <a:pt x="51" y="33"/>
                    </a:cubicBezTo>
                    <a:cubicBezTo>
                      <a:pt x="50" y="32"/>
                      <a:pt x="49" y="32"/>
                      <a:pt x="48" y="32"/>
                    </a:cubicBezTo>
                    <a:cubicBezTo>
                      <a:pt x="47" y="32"/>
                      <a:pt x="46" y="31"/>
                      <a:pt x="46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33"/>
                      <a:pt x="42" y="34"/>
                      <a:pt x="42" y="34"/>
                    </a:cubicBezTo>
                    <a:cubicBezTo>
                      <a:pt x="42" y="34"/>
                      <a:pt x="41" y="35"/>
                      <a:pt x="41" y="35"/>
                    </a:cubicBezTo>
                    <a:cubicBezTo>
                      <a:pt x="41" y="35"/>
                      <a:pt x="41" y="37"/>
                      <a:pt x="41" y="37"/>
                    </a:cubicBezTo>
                    <a:cubicBezTo>
                      <a:pt x="41" y="37"/>
                      <a:pt x="40" y="38"/>
                      <a:pt x="38" y="38"/>
                    </a:cubicBezTo>
                    <a:cubicBezTo>
                      <a:pt x="37" y="39"/>
                      <a:pt x="36" y="39"/>
                      <a:pt x="36" y="39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41"/>
                      <a:pt x="34" y="42"/>
                      <a:pt x="34" y="43"/>
                    </a:cubicBezTo>
                    <a:cubicBezTo>
                      <a:pt x="33" y="44"/>
                      <a:pt x="30" y="46"/>
                      <a:pt x="30" y="46"/>
                    </a:cubicBezTo>
                    <a:cubicBezTo>
                      <a:pt x="30" y="46"/>
                      <a:pt x="29" y="47"/>
                      <a:pt x="28" y="48"/>
                    </a:cubicBezTo>
                    <a:cubicBezTo>
                      <a:pt x="28" y="49"/>
                      <a:pt x="28" y="50"/>
                      <a:pt x="28" y="51"/>
                    </a:cubicBezTo>
                    <a:cubicBezTo>
                      <a:pt x="28" y="51"/>
                      <a:pt x="27" y="52"/>
                      <a:pt x="27" y="53"/>
                    </a:cubicBezTo>
                    <a:cubicBezTo>
                      <a:pt x="27" y="54"/>
                      <a:pt x="26" y="55"/>
                      <a:pt x="26" y="56"/>
                    </a:cubicBezTo>
                    <a:cubicBezTo>
                      <a:pt x="25" y="56"/>
                      <a:pt x="25" y="57"/>
                      <a:pt x="24" y="57"/>
                    </a:cubicBezTo>
                    <a:cubicBezTo>
                      <a:pt x="24" y="57"/>
                      <a:pt x="22" y="58"/>
                      <a:pt x="21" y="58"/>
                    </a:cubicBezTo>
                    <a:cubicBezTo>
                      <a:pt x="20" y="59"/>
                      <a:pt x="20" y="60"/>
                      <a:pt x="20" y="60"/>
                    </a:cubicBezTo>
                    <a:cubicBezTo>
                      <a:pt x="20" y="60"/>
                      <a:pt x="21" y="61"/>
                      <a:pt x="21" y="61"/>
                    </a:cubicBezTo>
                    <a:cubicBezTo>
                      <a:pt x="22" y="61"/>
                      <a:pt x="23" y="62"/>
                      <a:pt x="23" y="62"/>
                    </a:cubicBezTo>
                    <a:cubicBezTo>
                      <a:pt x="23" y="62"/>
                      <a:pt x="23" y="63"/>
                      <a:pt x="23" y="64"/>
                    </a:cubicBezTo>
                    <a:cubicBezTo>
                      <a:pt x="23" y="64"/>
                      <a:pt x="22" y="66"/>
                      <a:pt x="23" y="66"/>
                    </a:cubicBezTo>
                    <a:cubicBezTo>
                      <a:pt x="24" y="66"/>
                      <a:pt x="25" y="66"/>
                      <a:pt x="25" y="66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29" y="68"/>
                      <a:pt x="29" y="69"/>
                      <a:pt x="29" y="70"/>
                    </a:cubicBezTo>
                    <a:cubicBezTo>
                      <a:pt x="28" y="70"/>
                      <a:pt x="28" y="71"/>
                      <a:pt x="28" y="71"/>
                    </a:cubicBezTo>
                    <a:cubicBezTo>
                      <a:pt x="27" y="71"/>
                      <a:pt x="27" y="71"/>
                      <a:pt x="27" y="70"/>
                    </a:cubicBezTo>
                    <a:cubicBezTo>
                      <a:pt x="27" y="69"/>
                      <a:pt x="27" y="69"/>
                      <a:pt x="26" y="68"/>
                    </a:cubicBezTo>
                    <a:cubicBezTo>
                      <a:pt x="25" y="68"/>
                      <a:pt x="24" y="69"/>
                      <a:pt x="24" y="69"/>
                    </a:cubicBezTo>
                    <a:cubicBezTo>
                      <a:pt x="24" y="69"/>
                      <a:pt x="23" y="69"/>
                      <a:pt x="23" y="68"/>
                    </a:cubicBezTo>
                    <a:cubicBezTo>
                      <a:pt x="22" y="67"/>
                      <a:pt x="22" y="68"/>
                      <a:pt x="22" y="67"/>
                    </a:cubicBezTo>
                    <a:cubicBezTo>
                      <a:pt x="22" y="66"/>
                      <a:pt x="23" y="66"/>
                      <a:pt x="22" y="65"/>
                    </a:cubicBezTo>
                    <a:cubicBezTo>
                      <a:pt x="22" y="65"/>
                      <a:pt x="21" y="64"/>
                      <a:pt x="21" y="64"/>
                    </a:cubicBezTo>
                    <a:cubicBezTo>
                      <a:pt x="20" y="64"/>
                      <a:pt x="21" y="65"/>
                      <a:pt x="20" y="64"/>
                    </a:cubicBezTo>
                    <a:cubicBezTo>
                      <a:pt x="20" y="63"/>
                      <a:pt x="19" y="63"/>
                      <a:pt x="19" y="63"/>
                    </a:cubicBezTo>
                    <a:cubicBezTo>
                      <a:pt x="19" y="63"/>
                      <a:pt x="18" y="63"/>
                      <a:pt x="18" y="62"/>
                    </a:cubicBezTo>
                    <a:cubicBezTo>
                      <a:pt x="18" y="62"/>
                      <a:pt x="18" y="61"/>
                      <a:pt x="18" y="60"/>
                    </a:cubicBezTo>
                    <a:cubicBezTo>
                      <a:pt x="18" y="60"/>
                      <a:pt x="19" y="59"/>
                      <a:pt x="19" y="58"/>
                    </a:cubicBezTo>
                    <a:cubicBezTo>
                      <a:pt x="19" y="58"/>
                      <a:pt x="19" y="55"/>
                      <a:pt x="19" y="55"/>
                    </a:cubicBezTo>
                    <a:cubicBezTo>
                      <a:pt x="19" y="55"/>
                      <a:pt x="16" y="61"/>
                      <a:pt x="15" y="66"/>
                    </a:cubicBezTo>
                    <a:cubicBezTo>
                      <a:pt x="15" y="66"/>
                      <a:pt x="16" y="65"/>
                      <a:pt x="16" y="66"/>
                    </a:cubicBezTo>
                    <a:cubicBezTo>
                      <a:pt x="16" y="67"/>
                      <a:pt x="17" y="68"/>
                      <a:pt x="16" y="69"/>
                    </a:cubicBezTo>
                    <a:cubicBezTo>
                      <a:pt x="16" y="69"/>
                      <a:pt x="16" y="69"/>
                      <a:pt x="16" y="72"/>
                    </a:cubicBezTo>
                    <a:cubicBezTo>
                      <a:pt x="16" y="74"/>
                      <a:pt x="17" y="75"/>
                      <a:pt x="17" y="76"/>
                    </a:cubicBezTo>
                    <a:cubicBezTo>
                      <a:pt x="16" y="76"/>
                      <a:pt x="16" y="77"/>
                      <a:pt x="16" y="78"/>
                    </a:cubicBezTo>
                    <a:cubicBezTo>
                      <a:pt x="16" y="79"/>
                      <a:pt x="16" y="82"/>
                      <a:pt x="17" y="82"/>
                    </a:cubicBezTo>
                    <a:cubicBezTo>
                      <a:pt x="17" y="82"/>
                      <a:pt x="17" y="83"/>
                      <a:pt x="17" y="83"/>
                    </a:cubicBezTo>
                    <a:cubicBezTo>
                      <a:pt x="18" y="84"/>
                      <a:pt x="17" y="85"/>
                      <a:pt x="18" y="84"/>
                    </a:cubicBezTo>
                    <a:cubicBezTo>
                      <a:pt x="19" y="82"/>
                      <a:pt x="20" y="81"/>
                      <a:pt x="20" y="81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0" y="80"/>
                      <a:pt x="20" y="79"/>
                      <a:pt x="22" y="79"/>
                    </a:cubicBezTo>
                    <a:cubicBezTo>
                      <a:pt x="23" y="79"/>
                      <a:pt x="24" y="79"/>
                      <a:pt x="24" y="80"/>
                    </a:cubicBezTo>
                    <a:cubicBezTo>
                      <a:pt x="25" y="80"/>
                      <a:pt x="23" y="82"/>
                      <a:pt x="24" y="82"/>
                    </a:cubicBezTo>
                    <a:cubicBezTo>
                      <a:pt x="25" y="82"/>
                      <a:pt x="27" y="81"/>
                      <a:pt x="28" y="81"/>
                    </a:cubicBezTo>
                    <a:cubicBezTo>
                      <a:pt x="29" y="81"/>
                      <a:pt x="29" y="82"/>
                      <a:pt x="30" y="83"/>
                    </a:cubicBezTo>
                    <a:cubicBezTo>
                      <a:pt x="30" y="84"/>
                      <a:pt x="30" y="85"/>
                      <a:pt x="31" y="86"/>
                    </a:cubicBezTo>
                    <a:cubicBezTo>
                      <a:pt x="32" y="86"/>
                      <a:pt x="31" y="87"/>
                      <a:pt x="32" y="88"/>
                    </a:cubicBezTo>
                    <a:cubicBezTo>
                      <a:pt x="32" y="89"/>
                      <a:pt x="34" y="90"/>
                      <a:pt x="35" y="90"/>
                    </a:cubicBezTo>
                    <a:cubicBezTo>
                      <a:pt x="35" y="90"/>
                      <a:pt x="37" y="90"/>
                      <a:pt x="38" y="90"/>
                    </a:cubicBezTo>
                    <a:cubicBezTo>
                      <a:pt x="39" y="91"/>
                      <a:pt x="38" y="92"/>
                      <a:pt x="39" y="92"/>
                    </a:cubicBezTo>
                    <a:cubicBezTo>
                      <a:pt x="40" y="92"/>
                      <a:pt x="41" y="95"/>
                      <a:pt x="41" y="95"/>
                    </a:cubicBezTo>
                    <a:cubicBezTo>
                      <a:pt x="41" y="95"/>
                      <a:pt x="41" y="97"/>
                      <a:pt x="41" y="98"/>
                    </a:cubicBezTo>
                    <a:cubicBezTo>
                      <a:pt x="41" y="98"/>
                      <a:pt x="41" y="99"/>
                      <a:pt x="42" y="100"/>
                    </a:cubicBezTo>
                    <a:cubicBezTo>
                      <a:pt x="42" y="100"/>
                      <a:pt x="44" y="100"/>
                      <a:pt x="44" y="100"/>
                    </a:cubicBezTo>
                    <a:cubicBezTo>
                      <a:pt x="44" y="100"/>
                      <a:pt x="43" y="102"/>
                      <a:pt x="45" y="102"/>
                    </a:cubicBezTo>
                    <a:cubicBezTo>
                      <a:pt x="47" y="103"/>
                      <a:pt x="48" y="103"/>
                      <a:pt x="49" y="104"/>
                    </a:cubicBezTo>
                    <a:cubicBezTo>
                      <a:pt x="49" y="104"/>
                      <a:pt x="48" y="105"/>
                      <a:pt x="50" y="105"/>
                    </a:cubicBezTo>
                    <a:cubicBezTo>
                      <a:pt x="52" y="105"/>
                      <a:pt x="54" y="105"/>
                      <a:pt x="55" y="106"/>
                    </a:cubicBezTo>
                    <a:cubicBezTo>
                      <a:pt x="56" y="106"/>
                      <a:pt x="55" y="107"/>
                      <a:pt x="57" y="109"/>
                    </a:cubicBezTo>
                    <a:cubicBezTo>
                      <a:pt x="60" y="110"/>
                      <a:pt x="60" y="111"/>
                      <a:pt x="61" y="111"/>
                    </a:cubicBezTo>
                    <a:cubicBezTo>
                      <a:pt x="62" y="111"/>
                      <a:pt x="63" y="111"/>
                      <a:pt x="63" y="113"/>
                    </a:cubicBezTo>
                    <a:cubicBezTo>
                      <a:pt x="62" y="115"/>
                      <a:pt x="62" y="116"/>
                      <a:pt x="61" y="117"/>
                    </a:cubicBezTo>
                    <a:cubicBezTo>
                      <a:pt x="60" y="118"/>
                      <a:pt x="59" y="120"/>
                      <a:pt x="58" y="121"/>
                    </a:cubicBezTo>
                    <a:cubicBezTo>
                      <a:pt x="58" y="122"/>
                      <a:pt x="57" y="123"/>
                      <a:pt x="58" y="124"/>
                    </a:cubicBezTo>
                    <a:cubicBezTo>
                      <a:pt x="58" y="126"/>
                      <a:pt x="59" y="127"/>
                      <a:pt x="59" y="128"/>
                    </a:cubicBezTo>
                    <a:cubicBezTo>
                      <a:pt x="59" y="129"/>
                      <a:pt x="59" y="131"/>
                      <a:pt x="59" y="132"/>
                    </a:cubicBezTo>
                    <a:cubicBezTo>
                      <a:pt x="58" y="133"/>
                      <a:pt x="58" y="134"/>
                      <a:pt x="58" y="134"/>
                    </a:cubicBezTo>
                    <a:cubicBezTo>
                      <a:pt x="58" y="134"/>
                      <a:pt x="59" y="136"/>
                      <a:pt x="58" y="137"/>
                    </a:cubicBezTo>
                    <a:cubicBezTo>
                      <a:pt x="57" y="138"/>
                      <a:pt x="55" y="140"/>
                      <a:pt x="54" y="140"/>
                    </a:cubicBezTo>
                    <a:cubicBezTo>
                      <a:pt x="53" y="140"/>
                      <a:pt x="51" y="142"/>
                      <a:pt x="51" y="142"/>
                    </a:cubicBezTo>
                    <a:cubicBezTo>
                      <a:pt x="51" y="142"/>
                      <a:pt x="51" y="146"/>
                      <a:pt x="51" y="147"/>
                    </a:cubicBezTo>
                    <a:cubicBezTo>
                      <a:pt x="51" y="147"/>
                      <a:pt x="47" y="154"/>
                      <a:pt x="49" y="155"/>
                    </a:cubicBezTo>
                    <a:cubicBezTo>
                      <a:pt x="50" y="156"/>
                      <a:pt x="50" y="158"/>
                      <a:pt x="50" y="159"/>
                    </a:cubicBezTo>
                    <a:cubicBezTo>
                      <a:pt x="49" y="160"/>
                      <a:pt x="49" y="160"/>
                      <a:pt x="49" y="160"/>
                    </a:cubicBezTo>
                    <a:cubicBezTo>
                      <a:pt x="48" y="161"/>
                      <a:pt x="46" y="161"/>
                      <a:pt x="47" y="163"/>
                    </a:cubicBezTo>
                    <a:cubicBezTo>
                      <a:pt x="49" y="165"/>
                      <a:pt x="50" y="165"/>
                      <a:pt x="50" y="167"/>
                    </a:cubicBezTo>
                    <a:cubicBezTo>
                      <a:pt x="51" y="168"/>
                      <a:pt x="51" y="168"/>
                      <a:pt x="52" y="170"/>
                    </a:cubicBezTo>
                    <a:cubicBezTo>
                      <a:pt x="53" y="171"/>
                      <a:pt x="53" y="172"/>
                      <a:pt x="54" y="173"/>
                    </a:cubicBezTo>
                    <a:cubicBezTo>
                      <a:pt x="55" y="174"/>
                      <a:pt x="56" y="175"/>
                      <a:pt x="56" y="176"/>
                    </a:cubicBezTo>
                    <a:cubicBezTo>
                      <a:pt x="56" y="177"/>
                      <a:pt x="59" y="179"/>
                      <a:pt x="56" y="177"/>
                    </a:cubicBezTo>
                    <a:cubicBezTo>
                      <a:pt x="53" y="175"/>
                      <a:pt x="56" y="177"/>
                      <a:pt x="52" y="174"/>
                    </a:cubicBezTo>
                    <a:cubicBezTo>
                      <a:pt x="49" y="171"/>
                      <a:pt x="48" y="173"/>
                      <a:pt x="46" y="171"/>
                    </a:cubicBezTo>
                    <a:cubicBezTo>
                      <a:pt x="45" y="169"/>
                      <a:pt x="47" y="175"/>
                      <a:pt x="44" y="168"/>
                    </a:cubicBezTo>
                    <a:cubicBezTo>
                      <a:pt x="41" y="160"/>
                      <a:pt x="40" y="161"/>
                      <a:pt x="39" y="159"/>
                    </a:cubicBezTo>
                    <a:cubicBezTo>
                      <a:pt x="39" y="157"/>
                      <a:pt x="39" y="159"/>
                      <a:pt x="37" y="155"/>
                    </a:cubicBezTo>
                    <a:cubicBezTo>
                      <a:pt x="35" y="151"/>
                      <a:pt x="37" y="154"/>
                      <a:pt x="35" y="151"/>
                    </a:cubicBezTo>
                    <a:cubicBezTo>
                      <a:pt x="33" y="149"/>
                      <a:pt x="33" y="152"/>
                      <a:pt x="32" y="148"/>
                    </a:cubicBezTo>
                    <a:cubicBezTo>
                      <a:pt x="31" y="143"/>
                      <a:pt x="31" y="146"/>
                      <a:pt x="30" y="141"/>
                    </a:cubicBezTo>
                    <a:cubicBezTo>
                      <a:pt x="28" y="136"/>
                      <a:pt x="31" y="136"/>
                      <a:pt x="28" y="133"/>
                    </a:cubicBezTo>
                    <a:cubicBezTo>
                      <a:pt x="25" y="131"/>
                      <a:pt x="25" y="132"/>
                      <a:pt x="24" y="131"/>
                    </a:cubicBezTo>
                    <a:cubicBezTo>
                      <a:pt x="23" y="129"/>
                      <a:pt x="25" y="130"/>
                      <a:pt x="22" y="126"/>
                    </a:cubicBezTo>
                    <a:cubicBezTo>
                      <a:pt x="20" y="122"/>
                      <a:pt x="16" y="120"/>
                      <a:pt x="16" y="113"/>
                    </a:cubicBezTo>
                    <a:cubicBezTo>
                      <a:pt x="16" y="105"/>
                      <a:pt x="16" y="104"/>
                      <a:pt x="16" y="104"/>
                    </a:cubicBezTo>
                    <a:cubicBezTo>
                      <a:pt x="16" y="104"/>
                      <a:pt x="13" y="101"/>
                      <a:pt x="14" y="97"/>
                    </a:cubicBezTo>
                    <a:cubicBezTo>
                      <a:pt x="15" y="92"/>
                      <a:pt x="16" y="94"/>
                      <a:pt x="15" y="92"/>
                    </a:cubicBezTo>
                    <a:cubicBezTo>
                      <a:pt x="15" y="91"/>
                      <a:pt x="14" y="91"/>
                      <a:pt x="13" y="89"/>
                    </a:cubicBezTo>
                    <a:cubicBezTo>
                      <a:pt x="12" y="88"/>
                      <a:pt x="12" y="88"/>
                      <a:pt x="11" y="87"/>
                    </a:cubicBezTo>
                    <a:cubicBezTo>
                      <a:pt x="11" y="86"/>
                      <a:pt x="11" y="83"/>
                      <a:pt x="11" y="83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0" y="182"/>
                      <a:pt x="97" y="197"/>
                    </a:cubicBezTo>
                    <a:cubicBezTo>
                      <a:pt x="97" y="197"/>
                      <a:pt x="75" y="192"/>
                      <a:pt x="73" y="187"/>
                    </a:cubicBezTo>
                    <a:cubicBezTo>
                      <a:pt x="73" y="187"/>
                      <a:pt x="72" y="183"/>
                      <a:pt x="73" y="183"/>
                    </a:cubicBezTo>
                    <a:cubicBezTo>
                      <a:pt x="74" y="183"/>
                      <a:pt x="76" y="184"/>
                      <a:pt x="77" y="183"/>
                    </a:cubicBezTo>
                    <a:cubicBezTo>
                      <a:pt x="79" y="181"/>
                      <a:pt x="80" y="180"/>
                      <a:pt x="80" y="180"/>
                    </a:cubicBezTo>
                    <a:cubicBezTo>
                      <a:pt x="80" y="182"/>
                      <a:pt x="80" y="182"/>
                      <a:pt x="80" y="182"/>
                    </a:cubicBezTo>
                    <a:cubicBezTo>
                      <a:pt x="80" y="182"/>
                      <a:pt x="79" y="182"/>
                      <a:pt x="83" y="181"/>
                    </a:cubicBezTo>
                    <a:cubicBezTo>
                      <a:pt x="88" y="181"/>
                      <a:pt x="88" y="181"/>
                      <a:pt x="89" y="181"/>
                    </a:cubicBezTo>
                    <a:cubicBezTo>
                      <a:pt x="91" y="180"/>
                      <a:pt x="93" y="176"/>
                      <a:pt x="94" y="178"/>
                    </a:cubicBezTo>
                    <a:cubicBezTo>
                      <a:pt x="95" y="181"/>
                      <a:pt x="93" y="180"/>
                      <a:pt x="95" y="181"/>
                    </a:cubicBezTo>
                    <a:cubicBezTo>
                      <a:pt x="97" y="181"/>
                      <a:pt x="101" y="180"/>
                      <a:pt x="101" y="180"/>
                    </a:cubicBezTo>
                    <a:cubicBezTo>
                      <a:pt x="101" y="180"/>
                      <a:pt x="108" y="181"/>
                      <a:pt x="108" y="180"/>
                    </a:cubicBezTo>
                    <a:cubicBezTo>
                      <a:pt x="109" y="179"/>
                      <a:pt x="109" y="178"/>
                      <a:pt x="110" y="178"/>
                    </a:cubicBezTo>
                    <a:cubicBezTo>
                      <a:pt x="111" y="178"/>
                      <a:pt x="112" y="180"/>
                      <a:pt x="112" y="180"/>
                    </a:cubicBezTo>
                    <a:cubicBezTo>
                      <a:pt x="108" y="182"/>
                      <a:pt x="108" y="182"/>
                      <a:pt x="108" y="182"/>
                    </a:cubicBezTo>
                    <a:cubicBezTo>
                      <a:pt x="105" y="185"/>
                      <a:pt x="105" y="185"/>
                      <a:pt x="105" y="185"/>
                    </a:cubicBezTo>
                    <a:cubicBezTo>
                      <a:pt x="105" y="185"/>
                      <a:pt x="103" y="185"/>
                      <a:pt x="105" y="186"/>
                    </a:cubicBezTo>
                    <a:cubicBezTo>
                      <a:pt x="106" y="187"/>
                      <a:pt x="107" y="187"/>
                      <a:pt x="108" y="187"/>
                    </a:cubicBezTo>
                    <a:cubicBezTo>
                      <a:pt x="110" y="187"/>
                      <a:pt x="114" y="190"/>
                      <a:pt x="115" y="188"/>
                    </a:cubicBezTo>
                    <a:cubicBezTo>
                      <a:pt x="116" y="186"/>
                      <a:pt x="116" y="186"/>
                      <a:pt x="117" y="185"/>
                    </a:cubicBezTo>
                    <a:cubicBezTo>
                      <a:pt x="117" y="184"/>
                      <a:pt x="117" y="182"/>
                      <a:pt x="119" y="182"/>
                    </a:cubicBezTo>
                    <a:cubicBezTo>
                      <a:pt x="120" y="182"/>
                      <a:pt x="122" y="183"/>
                      <a:pt x="122" y="183"/>
                    </a:cubicBezTo>
                    <a:cubicBezTo>
                      <a:pt x="121" y="186"/>
                      <a:pt x="121" y="186"/>
                      <a:pt x="121" y="186"/>
                    </a:cubicBezTo>
                    <a:cubicBezTo>
                      <a:pt x="121" y="186"/>
                      <a:pt x="123" y="186"/>
                      <a:pt x="125" y="186"/>
                    </a:cubicBezTo>
                    <a:cubicBezTo>
                      <a:pt x="126" y="186"/>
                      <a:pt x="126" y="188"/>
                      <a:pt x="128" y="186"/>
                    </a:cubicBezTo>
                    <a:cubicBezTo>
                      <a:pt x="129" y="184"/>
                      <a:pt x="129" y="184"/>
                      <a:pt x="131" y="184"/>
                    </a:cubicBezTo>
                    <a:cubicBezTo>
                      <a:pt x="133" y="184"/>
                      <a:pt x="135" y="183"/>
                      <a:pt x="136" y="183"/>
                    </a:cubicBezTo>
                    <a:cubicBezTo>
                      <a:pt x="136" y="184"/>
                      <a:pt x="138" y="184"/>
                      <a:pt x="139" y="184"/>
                    </a:cubicBezTo>
                    <a:cubicBezTo>
                      <a:pt x="139" y="184"/>
                      <a:pt x="143" y="186"/>
                      <a:pt x="143" y="186"/>
                    </a:cubicBezTo>
                    <a:cubicBezTo>
                      <a:pt x="144" y="185"/>
                      <a:pt x="148" y="186"/>
                      <a:pt x="148" y="186"/>
                    </a:cubicBezTo>
                    <a:cubicBezTo>
                      <a:pt x="148" y="186"/>
                      <a:pt x="137" y="196"/>
                      <a:pt x="113" y="197"/>
                    </a:cubicBezTo>
                    <a:cubicBezTo>
                      <a:pt x="113" y="197"/>
                      <a:pt x="167" y="199"/>
                      <a:pt x="197" y="146"/>
                    </a:cubicBezTo>
                    <a:cubicBezTo>
                      <a:pt x="228" y="94"/>
                      <a:pt x="206" y="26"/>
                      <a:pt x="137" y="3"/>
                    </a:cubicBezTo>
                    <a:cubicBezTo>
                      <a:pt x="137" y="3"/>
                      <a:pt x="189" y="22"/>
                      <a:pt x="203" y="71"/>
                    </a:cubicBezTo>
                    <a:cubicBezTo>
                      <a:pt x="202" y="72"/>
                      <a:pt x="202" y="72"/>
                      <a:pt x="202" y="72"/>
                    </a:cubicBezTo>
                    <a:cubicBezTo>
                      <a:pt x="201" y="71"/>
                      <a:pt x="201" y="72"/>
                      <a:pt x="200" y="69"/>
                    </a:cubicBezTo>
                    <a:cubicBezTo>
                      <a:pt x="199" y="67"/>
                      <a:pt x="199" y="68"/>
                      <a:pt x="199" y="66"/>
                    </a:cubicBezTo>
                    <a:cubicBezTo>
                      <a:pt x="198" y="64"/>
                      <a:pt x="198" y="65"/>
                      <a:pt x="197" y="64"/>
                    </a:cubicBezTo>
                    <a:cubicBezTo>
                      <a:pt x="195" y="62"/>
                      <a:pt x="195" y="62"/>
                      <a:pt x="194" y="61"/>
                    </a:cubicBezTo>
                    <a:cubicBezTo>
                      <a:pt x="193" y="61"/>
                      <a:pt x="192" y="58"/>
                      <a:pt x="192" y="57"/>
                    </a:cubicBezTo>
                    <a:cubicBezTo>
                      <a:pt x="191" y="56"/>
                      <a:pt x="189" y="55"/>
                      <a:pt x="188" y="55"/>
                    </a:cubicBezTo>
                    <a:cubicBezTo>
                      <a:pt x="187" y="55"/>
                      <a:pt x="188" y="54"/>
                      <a:pt x="187" y="55"/>
                    </a:cubicBezTo>
                    <a:cubicBezTo>
                      <a:pt x="187" y="56"/>
                      <a:pt x="189" y="58"/>
                      <a:pt x="189" y="58"/>
                    </a:cubicBezTo>
                    <a:cubicBezTo>
                      <a:pt x="189" y="62"/>
                      <a:pt x="189" y="62"/>
                      <a:pt x="189" y="62"/>
                    </a:cubicBezTo>
                    <a:cubicBezTo>
                      <a:pt x="189" y="62"/>
                      <a:pt x="190" y="65"/>
                      <a:pt x="190" y="66"/>
                    </a:cubicBezTo>
                    <a:cubicBezTo>
                      <a:pt x="190" y="67"/>
                      <a:pt x="189" y="70"/>
                      <a:pt x="189" y="70"/>
                    </a:cubicBezTo>
                    <a:cubicBezTo>
                      <a:pt x="189" y="70"/>
                      <a:pt x="188" y="72"/>
                      <a:pt x="187" y="73"/>
                    </a:cubicBezTo>
                    <a:cubicBezTo>
                      <a:pt x="186" y="73"/>
                      <a:pt x="181" y="74"/>
                      <a:pt x="181" y="74"/>
                    </a:cubicBezTo>
                    <a:cubicBezTo>
                      <a:pt x="181" y="74"/>
                      <a:pt x="179" y="72"/>
                      <a:pt x="179" y="71"/>
                    </a:cubicBezTo>
                    <a:cubicBezTo>
                      <a:pt x="178" y="69"/>
                      <a:pt x="175" y="69"/>
                      <a:pt x="174" y="68"/>
                    </a:cubicBezTo>
                    <a:cubicBezTo>
                      <a:pt x="174" y="67"/>
                      <a:pt x="175" y="66"/>
                      <a:pt x="173" y="64"/>
                    </a:cubicBezTo>
                    <a:cubicBezTo>
                      <a:pt x="172" y="62"/>
                      <a:pt x="173" y="63"/>
                      <a:pt x="172" y="61"/>
                    </a:cubicBezTo>
                    <a:cubicBezTo>
                      <a:pt x="170" y="59"/>
                      <a:pt x="170" y="59"/>
                      <a:pt x="170" y="59"/>
                    </a:cubicBezTo>
                    <a:cubicBezTo>
                      <a:pt x="170" y="59"/>
                      <a:pt x="166" y="58"/>
                      <a:pt x="167" y="60"/>
                    </a:cubicBezTo>
                    <a:cubicBezTo>
                      <a:pt x="168" y="63"/>
                      <a:pt x="167" y="65"/>
                      <a:pt x="168" y="65"/>
                    </a:cubicBezTo>
                    <a:cubicBezTo>
                      <a:pt x="169" y="66"/>
                      <a:pt x="170" y="65"/>
                      <a:pt x="171" y="67"/>
                    </a:cubicBezTo>
                    <a:cubicBezTo>
                      <a:pt x="172" y="69"/>
                      <a:pt x="172" y="70"/>
                      <a:pt x="172" y="71"/>
                    </a:cubicBezTo>
                    <a:cubicBezTo>
                      <a:pt x="173" y="71"/>
                      <a:pt x="173" y="74"/>
                      <a:pt x="174" y="75"/>
                    </a:cubicBezTo>
                    <a:cubicBezTo>
                      <a:pt x="175" y="75"/>
                      <a:pt x="178" y="75"/>
                      <a:pt x="178" y="76"/>
                    </a:cubicBezTo>
                    <a:cubicBezTo>
                      <a:pt x="177" y="77"/>
                      <a:pt x="176" y="78"/>
                      <a:pt x="178" y="79"/>
                    </a:cubicBezTo>
                    <a:cubicBezTo>
                      <a:pt x="179" y="79"/>
                      <a:pt x="179" y="80"/>
                      <a:pt x="180" y="80"/>
                    </a:cubicBezTo>
                    <a:cubicBezTo>
                      <a:pt x="181" y="80"/>
                      <a:pt x="181" y="80"/>
                      <a:pt x="182" y="79"/>
                    </a:cubicBezTo>
                    <a:cubicBezTo>
                      <a:pt x="184" y="79"/>
                      <a:pt x="186" y="79"/>
                      <a:pt x="186" y="79"/>
                    </a:cubicBezTo>
                    <a:cubicBezTo>
                      <a:pt x="186" y="79"/>
                      <a:pt x="188" y="80"/>
                      <a:pt x="188" y="81"/>
                    </a:cubicBezTo>
                    <a:cubicBezTo>
                      <a:pt x="188" y="82"/>
                      <a:pt x="187" y="86"/>
                      <a:pt x="187" y="86"/>
                    </a:cubicBezTo>
                    <a:cubicBezTo>
                      <a:pt x="185" y="90"/>
                      <a:pt x="185" y="90"/>
                      <a:pt x="185" y="90"/>
                    </a:cubicBezTo>
                    <a:cubicBezTo>
                      <a:pt x="185" y="90"/>
                      <a:pt x="185" y="97"/>
                      <a:pt x="184" y="97"/>
                    </a:cubicBezTo>
                    <a:cubicBezTo>
                      <a:pt x="183" y="97"/>
                      <a:pt x="182" y="100"/>
                      <a:pt x="181" y="100"/>
                    </a:cubicBezTo>
                    <a:cubicBezTo>
                      <a:pt x="180" y="101"/>
                      <a:pt x="180" y="105"/>
                      <a:pt x="180" y="105"/>
                    </a:cubicBezTo>
                    <a:cubicBezTo>
                      <a:pt x="178" y="108"/>
                      <a:pt x="178" y="108"/>
                      <a:pt x="178" y="108"/>
                    </a:cubicBezTo>
                    <a:cubicBezTo>
                      <a:pt x="178" y="108"/>
                      <a:pt x="178" y="111"/>
                      <a:pt x="178" y="112"/>
                    </a:cubicBezTo>
                    <a:cubicBezTo>
                      <a:pt x="178" y="113"/>
                      <a:pt x="179" y="117"/>
                      <a:pt x="178" y="119"/>
                    </a:cubicBezTo>
                    <a:cubicBezTo>
                      <a:pt x="178" y="121"/>
                      <a:pt x="175" y="122"/>
                      <a:pt x="175" y="122"/>
                    </a:cubicBezTo>
                    <a:cubicBezTo>
                      <a:pt x="175" y="122"/>
                      <a:pt x="179" y="126"/>
                      <a:pt x="177" y="126"/>
                    </a:cubicBezTo>
                    <a:cubicBezTo>
                      <a:pt x="175" y="127"/>
                      <a:pt x="173" y="129"/>
                      <a:pt x="173" y="130"/>
                    </a:cubicBezTo>
                    <a:cubicBezTo>
                      <a:pt x="172" y="131"/>
                      <a:pt x="172" y="132"/>
                      <a:pt x="171" y="132"/>
                    </a:cubicBezTo>
                    <a:cubicBezTo>
                      <a:pt x="170" y="133"/>
                      <a:pt x="168" y="133"/>
                      <a:pt x="168" y="134"/>
                    </a:cubicBezTo>
                    <a:cubicBezTo>
                      <a:pt x="168" y="134"/>
                      <a:pt x="168" y="137"/>
                      <a:pt x="168" y="137"/>
                    </a:cubicBezTo>
                    <a:cubicBezTo>
                      <a:pt x="164" y="142"/>
                      <a:pt x="164" y="142"/>
                      <a:pt x="164" y="142"/>
                    </a:cubicBezTo>
                    <a:cubicBezTo>
                      <a:pt x="160" y="146"/>
                      <a:pt x="160" y="146"/>
                      <a:pt x="160" y="146"/>
                    </a:cubicBezTo>
                    <a:cubicBezTo>
                      <a:pt x="160" y="146"/>
                      <a:pt x="160" y="149"/>
                      <a:pt x="159" y="149"/>
                    </a:cubicBezTo>
                    <a:cubicBezTo>
                      <a:pt x="158" y="149"/>
                      <a:pt x="153" y="151"/>
                      <a:pt x="152" y="152"/>
                    </a:cubicBezTo>
                    <a:cubicBezTo>
                      <a:pt x="152" y="152"/>
                      <a:pt x="148" y="154"/>
                      <a:pt x="147" y="154"/>
                    </a:cubicBezTo>
                    <a:cubicBezTo>
                      <a:pt x="146" y="154"/>
                      <a:pt x="148" y="157"/>
                      <a:pt x="146" y="154"/>
                    </a:cubicBezTo>
                    <a:cubicBezTo>
                      <a:pt x="144" y="151"/>
                      <a:pt x="145" y="153"/>
                      <a:pt x="144" y="149"/>
                    </a:cubicBezTo>
                    <a:cubicBezTo>
                      <a:pt x="142" y="145"/>
                      <a:pt x="142" y="148"/>
                      <a:pt x="142" y="145"/>
                    </a:cubicBezTo>
                    <a:cubicBezTo>
                      <a:pt x="142" y="143"/>
                      <a:pt x="142" y="145"/>
                      <a:pt x="142" y="143"/>
                    </a:cubicBezTo>
                    <a:cubicBezTo>
                      <a:pt x="142" y="140"/>
                      <a:pt x="143" y="142"/>
                      <a:pt x="141" y="139"/>
                    </a:cubicBezTo>
                    <a:cubicBezTo>
                      <a:pt x="140" y="136"/>
                      <a:pt x="140" y="137"/>
                      <a:pt x="138" y="135"/>
                    </a:cubicBezTo>
                    <a:cubicBezTo>
                      <a:pt x="136" y="133"/>
                      <a:pt x="135" y="135"/>
                      <a:pt x="136" y="132"/>
                    </a:cubicBezTo>
                    <a:cubicBezTo>
                      <a:pt x="137" y="129"/>
                      <a:pt x="137" y="132"/>
                      <a:pt x="137" y="129"/>
                    </a:cubicBezTo>
                    <a:cubicBezTo>
                      <a:pt x="138" y="126"/>
                      <a:pt x="137" y="125"/>
                      <a:pt x="139" y="124"/>
                    </a:cubicBezTo>
                    <a:cubicBezTo>
                      <a:pt x="141" y="123"/>
                      <a:pt x="142" y="122"/>
                      <a:pt x="142" y="121"/>
                    </a:cubicBezTo>
                    <a:cubicBezTo>
                      <a:pt x="142" y="119"/>
                      <a:pt x="142" y="118"/>
                      <a:pt x="142" y="117"/>
                    </a:cubicBezTo>
                    <a:cubicBezTo>
                      <a:pt x="141" y="116"/>
                      <a:pt x="139" y="114"/>
                      <a:pt x="139" y="113"/>
                    </a:cubicBezTo>
                    <a:cubicBezTo>
                      <a:pt x="139" y="112"/>
                      <a:pt x="139" y="113"/>
                      <a:pt x="137" y="111"/>
                    </a:cubicBezTo>
                    <a:cubicBezTo>
                      <a:pt x="136" y="109"/>
                      <a:pt x="135" y="108"/>
                      <a:pt x="135" y="108"/>
                    </a:cubicBezTo>
                    <a:cubicBezTo>
                      <a:pt x="135" y="108"/>
                      <a:pt x="135" y="103"/>
                      <a:pt x="135" y="101"/>
                    </a:cubicBezTo>
                    <a:cubicBezTo>
                      <a:pt x="135" y="99"/>
                      <a:pt x="134" y="102"/>
                      <a:pt x="135" y="99"/>
                    </a:cubicBezTo>
                    <a:cubicBezTo>
                      <a:pt x="135" y="96"/>
                      <a:pt x="135" y="94"/>
                      <a:pt x="135" y="94"/>
                    </a:cubicBezTo>
                    <a:cubicBezTo>
                      <a:pt x="135" y="94"/>
                      <a:pt x="132" y="92"/>
                      <a:pt x="131" y="92"/>
                    </a:cubicBezTo>
                    <a:cubicBezTo>
                      <a:pt x="129" y="92"/>
                      <a:pt x="129" y="94"/>
                      <a:pt x="127" y="93"/>
                    </a:cubicBezTo>
                    <a:cubicBezTo>
                      <a:pt x="125" y="91"/>
                      <a:pt x="126" y="90"/>
                      <a:pt x="125" y="89"/>
                    </a:cubicBezTo>
                    <a:cubicBezTo>
                      <a:pt x="124" y="89"/>
                      <a:pt x="123" y="89"/>
                      <a:pt x="122" y="90"/>
                    </a:cubicBezTo>
                    <a:cubicBezTo>
                      <a:pt x="121" y="91"/>
                      <a:pt x="118" y="91"/>
                      <a:pt x="116" y="91"/>
                    </a:cubicBezTo>
                    <a:cubicBezTo>
                      <a:pt x="114" y="92"/>
                      <a:pt x="113" y="92"/>
                      <a:pt x="110" y="92"/>
                    </a:cubicBezTo>
                    <a:cubicBezTo>
                      <a:pt x="108" y="92"/>
                      <a:pt x="104" y="93"/>
                      <a:pt x="102" y="92"/>
                    </a:cubicBezTo>
                    <a:cubicBezTo>
                      <a:pt x="100" y="91"/>
                      <a:pt x="100" y="92"/>
                      <a:pt x="99" y="90"/>
                    </a:cubicBezTo>
                    <a:cubicBezTo>
                      <a:pt x="98" y="88"/>
                      <a:pt x="99" y="88"/>
                      <a:pt x="97" y="87"/>
                    </a:cubicBezTo>
                    <a:cubicBezTo>
                      <a:pt x="95" y="86"/>
                      <a:pt x="94" y="87"/>
                      <a:pt x="94" y="85"/>
                    </a:cubicBezTo>
                    <a:cubicBezTo>
                      <a:pt x="94" y="82"/>
                      <a:pt x="95" y="83"/>
                      <a:pt x="93" y="81"/>
                    </a:cubicBezTo>
                    <a:cubicBezTo>
                      <a:pt x="92" y="79"/>
                      <a:pt x="94" y="82"/>
                      <a:pt x="92" y="79"/>
                    </a:cubicBezTo>
                    <a:cubicBezTo>
                      <a:pt x="89" y="76"/>
                      <a:pt x="88" y="79"/>
                      <a:pt x="89" y="76"/>
                    </a:cubicBezTo>
                    <a:cubicBezTo>
                      <a:pt x="90" y="74"/>
                      <a:pt x="91" y="75"/>
                      <a:pt x="91" y="73"/>
                    </a:cubicBezTo>
                    <a:cubicBezTo>
                      <a:pt x="91" y="70"/>
                      <a:pt x="95" y="74"/>
                      <a:pt x="92" y="68"/>
                    </a:cubicBezTo>
                    <a:cubicBezTo>
                      <a:pt x="90" y="63"/>
                      <a:pt x="89" y="64"/>
                      <a:pt x="92" y="60"/>
                    </a:cubicBezTo>
                    <a:cubicBezTo>
                      <a:pt x="94" y="55"/>
                      <a:pt x="97" y="54"/>
                      <a:pt x="98" y="53"/>
                    </a:cubicBezTo>
                    <a:cubicBezTo>
                      <a:pt x="98" y="52"/>
                      <a:pt x="99" y="50"/>
                      <a:pt x="100" y="49"/>
                    </a:cubicBezTo>
                    <a:cubicBezTo>
                      <a:pt x="101" y="48"/>
                      <a:pt x="100" y="48"/>
                      <a:pt x="102" y="48"/>
                    </a:cubicBezTo>
                    <a:cubicBezTo>
                      <a:pt x="104" y="48"/>
                      <a:pt x="107" y="47"/>
                      <a:pt x="108" y="46"/>
                    </a:cubicBezTo>
                    <a:cubicBezTo>
                      <a:pt x="109" y="45"/>
                      <a:pt x="111" y="42"/>
                      <a:pt x="112" y="42"/>
                    </a:cubicBezTo>
                    <a:cubicBezTo>
                      <a:pt x="113" y="42"/>
                      <a:pt x="113" y="42"/>
                      <a:pt x="115" y="42"/>
                    </a:cubicBezTo>
                    <a:cubicBezTo>
                      <a:pt x="117" y="41"/>
                      <a:pt x="117" y="41"/>
                      <a:pt x="119" y="41"/>
                    </a:cubicBezTo>
                    <a:cubicBezTo>
                      <a:pt x="120" y="41"/>
                      <a:pt x="117" y="42"/>
                      <a:pt x="121" y="41"/>
                    </a:cubicBezTo>
                    <a:cubicBezTo>
                      <a:pt x="125" y="40"/>
                      <a:pt x="124" y="40"/>
                      <a:pt x="125" y="40"/>
                    </a:cubicBezTo>
                    <a:cubicBezTo>
                      <a:pt x="126" y="40"/>
                      <a:pt x="126" y="41"/>
                      <a:pt x="127" y="41"/>
                    </a:cubicBezTo>
                    <a:cubicBezTo>
                      <a:pt x="129" y="41"/>
                      <a:pt x="129" y="38"/>
                      <a:pt x="129" y="41"/>
                    </a:cubicBezTo>
                    <a:cubicBezTo>
                      <a:pt x="129" y="45"/>
                      <a:pt x="128" y="46"/>
                      <a:pt x="130" y="46"/>
                    </a:cubicBezTo>
                    <a:cubicBezTo>
                      <a:pt x="133" y="47"/>
                      <a:pt x="130" y="47"/>
                      <a:pt x="133" y="47"/>
                    </a:cubicBezTo>
                    <a:cubicBezTo>
                      <a:pt x="136" y="47"/>
                      <a:pt x="135" y="47"/>
                      <a:pt x="137" y="48"/>
                    </a:cubicBezTo>
                    <a:cubicBezTo>
                      <a:pt x="138" y="48"/>
                      <a:pt x="139" y="49"/>
                      <a:pt x="141" y="49"/>
                    </a:cubicBezTo>
                    <a:cubicBezTo>
                      <a:pt x="143" y="49"/>
                      <a:pt x="140" y="52"/>
                      <a:pt x="143" y="49"/>
                    </a:cubicBezTo>
                    <a:cubicBezTo>
                      <a:pt x="146" y="46"/>
                      <a:pt x="141" y="46"/>
                      <a:pt x="146" y="46"/>
                    </a:cubicBezTo>
                    <a:cubicBezTo>
                      <a:pt x="151" y="47"/>
                      <a:pt x="152" y="48"/>
                      <a:pt x="153" y="48"/>
                    </a:cubicBezTo>
                    <a:cubicBezTo>
                      <a:pt x="154" y="47"/>
                      <a:pt x="154" y="48"/>
                      <a:pt x="156" y="47"/>
                    </a:cubicBezTo>
                    <a:cubicBezTo>
                      <a:pt x="159" y="46"/>
                      <a:pt x="159" y="46"/>
                      <a:pt x="160" y="46"/>
                    </a:cubicBezTo>
                    <a:cubicBezTo>
                      <a:pt x="161" y="47"/>
                      <a:pt x="161" y="49"/>
                      <a:pt x="162" y="47"/>
                    </a:cubicBezTo>
                    <a:cubicBezTo>
                      <a:pt x="163" y="45"/>
                      <a:pt x="165" y="45"/>
                      <a:pt x="162" y="44"/>
                    </a:cubicBezTo>
                    <a:cubicBezTo>
                      <a:pt x="159" y="42"/>
                      <a:pt x="158" y="44"/>
                      <a:pt x="158" y="42"/>
                    </a:cubicBezTo>
                    <a:cubicBezTo>
                      <a:pt x="157" y="40"/>
                      <a:pt x="160" y="41"/>
                      <a:pt x="157" y="40"/>
                    </a:cubicBezTo>
                    <a:cubicBezTo>
                      <a:pt x="154" y="40"/>
                      <a:pt x="155" y="40"/>
                      <a:pt x="153" y="39"/>
                    </a:cubicBezTo>
                    <a:cubicBezTo>
                      <a:pt x="151" y="38"/>
                      <a:pt x="149" y="41"/>
                      <a:pt x="148" y="39"/>
                    </a:cubicBezTo>
                    <a:cubicBezTo>
                      <a:pt x="147" y="37"/>
                      <a:pt x="143" y="41"/>
                      <a:pt x="147" y="37"/>
                    </a:cubicBezTo>
                    <a:cubicBezTo>
                      <a:pt x="151" y="34"/>
                      <a:pt x="149" y="32"/>
                      <a:pt x="152" y="33"/>
                    </a:cubicBezTo>
                    <a:cubicBezTo>
                      <a:pt x="155" y="34"/>
                      <a:pt x="154" y="36"/>
                      <a:pt x="155" y="35"/>
                    </a:cubicBezTo>
                    <a:cubicBezTo>
                      <a:pt x="157" y="33"/>
                      <a:pt x="160" y="32"/>
                      <a:pt x="157" y="30"/>
                    </a:cubicBezTo>
                    <a:cubicBezTo>
                      <a:pt x="154" y="28"/>
                      <a:pt x="156" y="29"/>
                      <a:pt x="153" y="28"/>
                    </a:cubicBezTo>
                    <a:cubicBezTo>
                      <a:pt x="150" y="26"/>
                      <a:pt x="147" y="33"/>
                      <a:pt x="146" y="32"/>
                    </a:cubicBezTo>
                    <a:cubicBezTo>
                      <a:pt x="145" y="31"/>
                      <a:pt x="144" y="30"/>
                      <a:pt x="143" y="31"/>
                    </a:cubicBezTo>
                    <a:cubicBezTo>
                      <a:pt x="142" y="31"/>
                      <a:pt x="142" y="34"/>
                      <a:pt x="142" y="36"/>
                    </a:cubicBezTo>
                    <a:cubicBezTo>
                      <a:pt x="142" y="38"/>
                      <a:pt x="143" y="38"/>
                      <a:pt x="140" y="37"/>
                    </a:cubicBezTo>
                    <a:cubicBezTo>
                      <a:pt x="137" y="35"/>
                      <a:pt x="144" y="36"/>
                      <a:pt x="137" y="33"/>
                    </a:cubicBezTo>
                    <a:cubicBezTo>
                      <a:pt x="130" y="31"/>
                      <a:pt x="128" y="31"/>
                      <a:pt x="127" y="32"/>
                    </a:cubicBezTo>
                    <a:cubicBezTo>
                      <a:pt x="126" y="33"/>
                      <a:pt x="125" y="33"/>
                      <a:pt x="124" y="34"/>
                    </a:cubicBezTo>
                    <a:cubicBezTo>
                      <a:pt x="123" y="35"/>
                      <a:pt x="126" y="36"/>
                      <a:pt x="123" y="35"/>
                    </a:cubicBezTo>
                    <a:cubicBezTo>
                      <a:pt x="120" y="33"/>
                      <a:pt x="118" y="35"/>
                      <a:pt x="118" y="35"/>
                    </a:cubicBezTo>
                    <a:cubicBezTo>
                      <a:pt x="118" y="35"/>
                      <a:pt x="117" y="35"/>
                      <a:pt x="116" y="36"/>
                    </a:cubicBezTo>
                    <a:cubicBezTo>
                      <a:pt x="114" y="37"/>
                      <a:pt x="112" y="38"/>
                      <a:pt x="111" y="37"/>
                    </a:cubicBezTo>
                    <a:cubicBezTo>
                      <a:pt x="109" y="37"/>
                      <a:pt x="106" y="38"/>
                      <a:pt x="109" y="34"/>
                    </a:cubicBezTo>
                    <a:cubicBezTo>
                      <a:pt x="111" y="31"/>
                      <a:pt x="109" y="33"/>
                      <a:pt x="113" y="31"/>
                    </a:cubicBezTo>
                    <a:cubicBezTo>
                      <a:pt x="117" y="30"/>
                      <a:pt x="123" y="29"/>
                      <a:pt x="118" y="28"/>
                    </a:cubicBezTo>
                    <a:cubicBezTo>
                      <a:pt x="113" y="27"/>
                      <a:pt x="121" y="27"/>
                      <a:pt x="114" y="24"/>
                    </a:cubicBezTo>
                    <a:cubicBezTo>
                      <a:pt x="107" y="21"/>
                      <a:pt x="107" y="25"/>
                      <a:pt x="107" y="21"/>
                    </a:cubicBezTo>
                    <a:cubicBezTo>
                      <a:pt x="108" y="16"/>
                      <a:pt x="107" y="16"/>
                      <a:pt x="106" y="16"/>
                    </a:cubicBezTo>
                    <a:cubicBezTo>
                      <a:pt x="104" y="16"/>
                      <a:pt x="100" y="17"/>
                      <a:pt x="98" y="18"/>
                    </a:cubicBezTo>
                    <a:cubicBezTo>
                      <a:pt x="97" y="18"/>
                      <a:pt x="99" y="19"/>
                      <a:pt x="96" y="17"/>
                    </a:cubicBezTo>
                    <a:cubicBezTo>
                      <a:pt x="92" y="15"/>
                      <a:pt x="91" y="18"/>
                      <a:pt x="92" y="15"/>
                    </a:cubicBezTo>
                    <a:cubicBezTo>
                      <a:pt x="94" y="13"/>
                      <a:pt x="94" y="12"/>
                      <a:pt x="96" y="11"/>
                    </a:cubicBezTo>
                    <a:cubicBezTo>
                      <a:pt x="98" y="9"/>
                      <a:pt x="97" y="3"/>
                      <a:pt x="102" y="5"/>
                    </a:cubicBezTo>
                    <a:cubicBezTo>
                      <a:pt x="106" y="8"/>
                      <a:pt x="105" y="7"/>
                      <a:pt x="108" y="7"/>
                    </a:cubicBezTo>
                    <a:cubicBezTo>
                      <a:pt x="112" y="7"/>
                      <a:pt x="114" y="7"/>
                      <a:pt x="114" y="6"/>
                    </a:cubicBezTo>
                    <a:cubicBezTo>
                      <a:pt x="114" y="5"/>
                      <a:pt x="109" y="3"/>
                      <a:pt x="109" y="3"/>
                    </a:cubicBezTo>
                    <a:cubicBezTo>
                      <a:pt x="109" y="3"/>
                      <a:pt x="108" y="4"/>
                      <a:pt x="109" y="3"/>
                    </a:cubicBezTo>
                    <a:cubicBezTo>
                      <a:pt x="109" y="2"/>
                      <a:pt x="110" y="1"/>
                      <a:pt x="110" y="1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96" y="0"/>
                      <a:pt x="9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</p:grpSp>
        <p:sp>
          <p:nvSpPr>
            <p:cNvPr id="33" name="Freeform 41">
              <a:extLst>
                <a:ext uri="{FF2B5EF4-FFF2-40B4-BE49-F238E27FC236}">
                  <a16:creationId xmlns:a16="http://schemas.microsoft.com/office/drawing/2014/main" id="{7F1AB9C2-9EC5-429A-819D-B0FD25426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12613" y="3654091"/>
              <a:ext cx="428513" cy="390423"/>
            </a:xfrm>
            <a:custGeom>
              <a:avLst/>
              <a:gdLst>
                <a:gd name="T0" fmla="*/ 116 w 196"/>
                <a:gd name="T1" fmla="*/ 2 h 179"/>
                <a:gd name="T2" fmla="*/ 98 w 196"/>
                <a:gd name="T3" fmla="*/ 0 h 179"/>
                <a:gd name="T4" fmla="*/ 98 w 196"/>
                <a:gd name="T5" fmla="*/ 17 h 179"/>
                <a:gd name="T6" fmla="*/ 113 w 196"/>
                <a:gd name="T7" fmla="*/ 18 h 179"/>
                <a:gd name="T8" fmla="*/ 169 w 196"/>
                <a:gd name="T9" fmla="*/ 105 h 179"/>
                <a:gd name="T10" fmla="*/ 98 w 196"/>
                <a:gd name="T11" fmla="*/ 163 h 179"/>
                <a:gd name="T12" fmla="*/ 98 w 196"/>
                <a:gd name="T13" fmla="*/ 179 h 179"/>
                <a:gd name="T14" fmla="*/ 185 w 196"/>
                <a:gd name="T15" fmla="*/ 108 h 179"/>
                <a:gd name="T16" fmla="*/ 116 w 196"/>
                <a:gd name="T17" fmla="*/ 2 h 179"/>
                <a:gd name="T18" fmla="*/ 98 w 196"/>
                <a:gd name="T19" fmla="*/ 0 h 179"/>
                <a:gd name="T20" fmla="*/ 10 w 196"/>
                <a:gd name="T21" fmla="*/ 71 h 179"/>
                <a:gd name="T22" fmla="*/ 79 w 196"/>
                <a:gd name="T23" fmla="*/ 177 h 179"/>
                <a:gd name="T24" fmla="*/ 98 w 196"/>
                <a:gd name="T25" fmla="*/ 179 h 179"/>
                <a:gd name="T26" fmla="*/ 98 w 196"/>
                <a:gd name="T27" fmla="*/ 163 h 179"/>
                <a:gd name="T28" fmla="*/ 83 w 196"/>
                <a:gd name="T29" fmla="*/ 161 h 179"/>
                <a:gd name="T30" fmla="*/ 83 w 196"/>
                <a:gd name="T31" fmla="*/ 161 h 179"/>
                <a:gd name="T32" fmla="*/ 26 w 196"/>
                <a:gd name="T33" fmla="*/ 75 h 179"/>
                <a:gd name="T34" fmla="*/ 98 w 196"/>
                <a:gd name="T35" fmla="*/ 17 h 179"/>
                <a:gd name="T36" fmla="*/ 98 w 196"/>
                <a:gd name="T37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6" h="179">
                  <a:moveTo>
                    <a:pt x="116" y="2"/>
                  </a:moveTo>
                  <a:cubicBezTo>
                    <a:pt x="110" y="1"/>
                    <a:pt x="104" y="0"/>
                    <a:pt x="98" y="0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103" y="17"/>
                    <a:pt x="108" y="17"/>
                    <a:pt x="113" y="18"/>
                  </a:cubicBezTo>
                  <a:cubicBezTo>
                    <a:pt x="152" y="27"/>
                    <a:pt x="177" y="65"/>
                    <a:pt x="169" y="105"/>
                  </a:cubicBezTo>
                  <a:cubicBezTo>
                    <a:pt x="162" y="139"/>
                    <a:pt x="131" y="163"/>
                    <a:pt x="98" y="163"/>
                  </a:cubicBezTo>
                  <a:cubicBezTo>
                    <a:pt x="98" y="179"/>
                    <a:pt x="98" y="179"/>
                    <a:pt x="98" y="179"/>
                  </a:cubicBezTo>
                  <a:cubicBezTo>
                    <a:pt x="139" y="179"/>
                    <a:pt x="177" y="150"/>
                    <a:pt x="185" y="108"/>
                  </a:cubicBezTo>
                  <a:cubicBezTo>
                    <a:pt x="196" y="60"/>
                    <a:pt x="165" y="12"/>
                    <a:pt x="116" y="2"/>
                  </a:cubicBezTo>
                  <a:close/>
                  <a:moveTo>
                    <a:pt x="98" y="0"/>
                  </a:moveTo>
                  <a:cubicBezTo>
                    <a:pt x="56" y="0"/>
                    <a:pt x="19" y="29"/>
                    <a:pt x="10" y="71"/>
                  </a:cubicBezTo>
                  <a:cubicBezTo>
                    <a:pt x="0" y="120"/>
                    <a:pt x="31" y="167"/>
                    <a:pt x="79" y="177"/>
                  </a:cubicBezTo>
                  <a:cubicBezTo>
                    <a:pt x="85" y="179"/>
                    <a:pt x="92" y="179"/>
                    <a:pt x="98" y="179"/>
                  </a:cubicBezTo>
                  <a:cubicBezTo>
                    <a:pt x="98" y="163"/>
                    <a:pt x="98" y="163"/>
                    <a:pt x="98" y="163"/>
                  </a:cubicBezTo>
                  <a:cubicBezTo>
                    <a:pt x="93" y="163"/>
                    <a:pt x="88" y="162"/>
                    <a:pt x="83" y="161"/>
                  </a:cubicBezTo>
                  <a:cubicBezTo>
                    <a:pt x="83" y="161"/>
                    <a:pt x="83" y="161"/>
                    <a:pt x="83" y="161"/>
                  </a:cubicBezTo>
                  <a:cubicBezTo>
                    <a:pt x="43" y="153"/>
                    <a:pt x="18" y="114"/>
                    <a:pt x="26" y="75"/>
                  </a:cubicBezTo>
                  <a:cubicBezTo>
                    <a:pt x="33" y="40"/>
                    <a:pt x="64" y="17"/>
                    <a:pt x="98" y="17"/>
                  </a:cubicBezTo>
                  <a:lnTo>
                    <a:pt x="98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4" name="Freeform 42">
              <a:extLst>
                <a:ext uri="{FF2B5EF4-FFF2-40B4-BE49-F238E27FC236}">
                  <a16:creationId xmlns:a16="http://schemas.microsoft.com/office/drawing/2014/main" id="{4C3D0E76-AF45-4B43-A3DF-F5C6C5D6A83E}"/>
                </a:ext>
              </a:extLst>
            </p:cNvPr>
            <p:cNvSpPr/>
            <p:nvPr/>
          </p:nvSpPr>
          <p:spPr bwMode="auto">
            <a:xfrm>
              <a:off x="8923708" y="4014359"/>
              <a:ext cx="92051" cy="198387"/>
            </a:xfrm>
            <a:custGeom>
              <a:avLst/>
              <a:gdLst>
                <a:gd name="T0" fmla="*/ 33 w 58"/>
                <a:gd name="T1" fmla="*/ 125 h 125"/>
                <a:gd name="T2" fmla="*/ 0 w 58"/>
                <a:gd name="T3" fmla="*/ 118 h 125"/>
                <a:gd name="T4" fmla="*/ 25 w 58"/>
                <a:gd name="T5" fmla="*/ 0 h 125"/>
                <a:gd name="T6" fmla="*/ 58 w 58"/>
                <a:gd name="T7" fmla="*/ 7 h 125"/>
                <a:gd name="T8" fmla="*/ 33 w 58"/>
                <a:gd name="T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25">
                  <a:moveTo>
                    <a:pt x="33" y="125"/>
                  </a:moveTo>
                  <a:lnTo>
                    <a:pt x="0" y="118"/>
                  </a:lnTo>
                  <a:lnTo>
                    <a:pt x="25" y="0"/>
                  </a:lnTo>
                  <a:lnTo>
                    <a:pt x="58" y="7"/>
                  </a:lnTo>
                  <a:lnTo>
                    <a:pt x="33" y="125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5" name="Freeform 43">
              <a:extLst>
                <a:ext uri="{FF2B5EF4-FFF2-40B4-BE49-F238E27FC236}">
                  <a16:creationId xmlns:a16="http://schemas.microsoft.com/office/drawing/2014/main" id="{8D7B993A-969B-47C6-A878-E5ACD8762876}"/>
                </a:ext>
              </a:extLst>
            </p:cNvPr>
            <p:cNvSpPr/>
            <p:nvPr/>
          </p:nvSpPr>
          <p:spPr bwMode="auto">
            <a:xfrm>
              <a:off x="8885618" y="4074668"/>
              <a:ext cx="130141" cy="268219"/>
            </a:xfrm>
            <a:custGeom>
              <a:avLst/>
              <a:gdLst>
                <a:gd name="T0" fmla="*/ 40 w 60"/>
                <a:gd name="T1" fmla="*/ 106 h 123"/>
                <a:gd name="T2" fmla="*/ 18 w 60"/>
                <a:gd name="T3" fmla="*/ 121 h 123"/>
                <a:gd name="T4" fmla="*/ 3 w 60"/>
                <a:gd name="T5" fmla="*/ 98 h 123"/>
                <a:gd name="T6" fmla="*/ 20 w 60"/>
                <a:gd name="T7" fmla="*/ 17 h 123"/>
                <a:gd name="T8" fmla="*/ 42 w 60"/>
                <a:gd name="T9" fmla="*/ 2 h 123"/>
                <a:gd name="T10" fmla="*/ 57 w 60"/>
                <a:gd name="T11" fmla="*/ 25 h 123"/>
                <a:gd name="T12" fmla="*/ 40 w 60"/>
                <a:gd name="T13" fmla="*/ 10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3">
                  <a:moveTo>
                    <a:pt x="40" y="106"/>
                  </a:moveTo>
                  <a:cubicBezTo>
                    <a:pt x="38" y="116"/>
                    <a:pt x="28" y="123"/>
                    <a:pt x="18" y="121"/>
                  </a:cubicBezTo>
                  <a:cubicBezTo>
                    <a:pt x="7" y="118"/>
                    <a:pt x="0" y="108"/>
                    <a:pt x="3" y="98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2" y="6"/>
                    <a:pt x="32" y="0"/>
                    <a:pt x="42" y="2"/>
                  </a:cubicBezTo>
                  <a:cubicBezTo>
                    <a:pt x="53" y="4"/>
                    <a:pt x="60" y="14"/>
                    <a:pt x="57" y="25"/>
                  </a:cubicBezTo>
                  <a:lnTo>
                    <a:pt x="40" y="106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6" name="Freeform 44">
              <a:extLst>
                <a:ext uri="{FF2B5EF4-FFF2-40B4-BE49-F238E27FC236}">
                  <a16:creationId xmlns:a16="http://schemas.microsoft.com/office/drawing/2014/main" id="{E3BF3F4D-0252-4862-9A25-1CC601F4BD03}"/>
                </a:ext>
              </a:extLst>
            </p:cNvPr>
            <p:cNvSpPr/>
            <p:nvPr/>
          </p:nvSpPr>
          <p:spPr bwMode="auto">
            <a:xfrm>
              <a:off x="7696889" y="1070314"/>
              <a:ext cx="523739" cy="479300"/>
            </a:xfrm>
            <a:custGeom>
              <a:avLst/>
              <a:gdLst>
                <a:gd name="T0" fmla="*/ 117 w 240"/>
                <a:gd name="T1" fmla="*/ 220 h 220"/>
                <a:gd name="T2" fmla="*/ 0 w 240"/>
                <a:gd name="T3" fmla="*/ 219 h 220"/>
                <a:gd name="T4" fmla="*/ 0 w 240"/>
                <a:gd name="T5" fmla="*/ 44 h 220"/>
                <a:gd name="T6" fmla="*/ 120 w 240"/>
                <a:gd name="T7" fmla="*/ 44 h 220"/>
                <a:gd name="T8" fmla="*/ 240 w 240"/>
                <a:gd name="T9" fmla="*/ 44 h 220"/>
                <a:gd name="T10" fmla="*/ 240 w 240"/>
                <a:gd name="T11" fmla="*/ 219 h 220"/>
                <a:gd name="T12" fmla="*/ 117 w 240"/>
                <a:gd name="T13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220">
                  <a:moveTo>
                    <a:pt x="117" y="220"/>
                  </a:moveTo>
                  <a:cubicBezTo>
                    <a:pt x="117" y="220"/>
                    <a:pt x="76" y="179"/>
                    <a:pt x="0" y="21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78" y="0"/>
                    <a:pt x="120" y="44"/>
                  </a:cubicBezTo>
                  <a:cubicBezTo>
                    <a:pt x="240" y="44"/>
                    <a:pt x="240" y="44"/>
                    <a:pt x="240" y="44"/>
                  </a:cubicBezTo>
                  <a:cubicBezTo>
                    <a:pt x="240" y="219"/>
                    <a:pt x="240" y="219"/>
                    <a:pt x="240" y="219"/>
                  </a:cubicBezTo>
                  <a:lnTo>
                    <a:pt x="117" y="220"/>
                  </a:ln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7" name="Freeform 45">
              <a:extLst>
                <a:ext uri="{FF2B5EF4-FFF2-40B4-BE49-F238E27FC236}">
                  <a16:creationId xmlns:a16="http://schemas.microsoft.com/office/drawing/2014/main" id="{3B8D0BBC-BBAE-41DA-B76F-487A3E9B70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1356" y="3730271"/>
              <a:ext cx="638009" cy="528500"/>
            </a:xfrm>
            <a:custGeom>
              <a:avLst/>
              <a:gdLst>
                <a:gd name="T0" fmla="*/ 199 w 293"/>
                <a:gd name="T1" fmla="*/ 192 h 242"/>
                <a:gd name="T2" fmla="*/ 219 w 293"/>
                <a:gd name="T3" fmla="*/ 205 h 242"/>
                <a:gd name="T4" fmla="*/ 219 w 293"/>
                <a:gd name="T5" fmla="*/ 214 h 242"/>
                <a:gd name="T6" fmla="*/ 199 w 293"/>
                <a:gd name="T7" fmla="*/ 214 h 242"/>
                <a:gd name="T8" fmla="*/ 219 w 293"/>
                <a:gd name="T9" fmla="*/ 242 h 242"/>
                <a:gd name="T10" fmla="*/ 242 w 293"/>
                <a:gd name="T11" fmla="*/ 216 h 242"/>
                <a:gd name="T12" fmla="*/ 199 w 293"/>
                <a:gd name="T13" fmla="*/ 170 h 242"/>
                <a:gd name="T14" fmla="*/ 293 w 293"/>
                <a:gd name="T15" fmla="*/ 147 h 242"/>
                <a:gd name="T16" fmla="*/ 269 w 293"/>
                <a:gd name="T17" fmla="*/ 0 h 242"/>
                <a:gd name="T18" fmla="*/ 199 w 293"/>
                <a:gd name="T19" fmla="*/ 16 h 242"/>
                <a:gd name="T20" fmla="*/ 275 w 293"/>
                <a:gd name="T21" fmla="*/ 35 h 242"/>
                <a:gd name="T22" fmla="*/ 256 w 293"/>
                <a:gd name="T23" fmla="*/ 154 h 242"/>
                <a:gd name="T24" fmla="*/ 199 w 293"/>
                <a:gd name="T25" fmla="*/ 170 h 242"/>
                <a:gd name="T26" fmla="*/ 175 w 293"/>
                <a:gd name="T27" fmla="*/ 192 h 242"/>
                <a:gd name="T28" fmla="*/ 199 w 293"/>
                <a:gd name="T29" fmla="*/ 170 h 242"/>
                <a:gd name="T30" fmla="*/ 146 w 293"/>
                <a:gd name="T31" fmla="*/ 154 h 242"/>
                <a:gd name="T32" fmla="*/ 199 w 293"/>
                <a:gd name="T33" fmla="*/ 242 h 242"/>
                <a:gd name="T34" fmla="*/ 179 w 293"/>
                <a:gd name="T35" fmla="*/ 214 h 242"/>
                <a:gd name="T36" fmla="*/ 179 w 293"/>
                <a:gd name="T37" fmla="*/ 205 h 242"/>
                <a:gd name="T38" fmla="*/ 199 w 293"/>
                <a:gd name="T39" fmla="*/ 192 h 242"/>
                <a:gd name="T40" fmla="*/ 146 w 293"/>
                <a:gd name="T41" fmla="*/ 0 h 242"/>
                <a:gd name="T42" fmla="*/ 199 w 293"/>
                <a:gd name="T43" fmla="*/ 16 h 242"/>
                <a:gd name="T44" fmla="*/ 146 w 293"/>
                <a:gd name="T45" fmla="*/ 0 h 242"/>
                <a:gd name="T46" fmla="*/ 0 w 293"/>
                <a:gd name="T47" fmla="*/ 24 h 242"/>
                <a:gd name="T48" fmla="*/ 23 w 293"/>
                <a:gd name="T49" fmla="*/ 170 h 242"/>
                <a:gd name="T50" fmla="*/ 117 w 293"/>
                <a:gd name="T51" fmla="*/ 192 h 242"/>
                <a:gd name="T52" fmla="*/ 52 w 293"/>
                <a:gd name="T53" fmla="*/ 216 h 242"/>
                <a:gd name="T54" fmla="*/ 75 w 293"/>
                <a:gd name="T55" fmla="*/ 242 h 242"/>
                <a:gd name="T56" fmla="*/ 146 w 293"/>
                <a:gd name="T57" fmla="*/ 154 h 242"/>
                <a:gd name="T58" fmla="*/ 37 w 293"/>
                <a:gd name="T59" fmla="*/ 154 h 242"/>
                <a:gd name="T60" fmla="*/ 17 w 293"/>
                <a:gd name="T61" fmla="*/ 35 h 242"/>
                <a:gd name="T62" fmla="*/ 146 w 293"/>
                <a:gd name="T63" fmla="*/ 16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3" h="242">
                  <a:moveTo>
                    <a:pt x="219" y="192"/>
                  </a:moveTo>
                  <a:cubicBezTo>
                    <a:pt x="199" y="192"/>
                    <a:pt x="199" y="192"/>
                    <a:pt x="199" y="192"/>
                  </a:cubicBezTo>
                  <a:cubicBezTo>
                    <a:pt x="199" y="205"/>
                    <a:pt x="199" y="205"/>
                    <a:pt x="199" y="205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1" y="205"/>
                    <a:pt x="223" y="207"/>
                    <a:pt x="223" y="209"/>
                  </a:cubicBezTo>
                  <a:cubicBezTo>
                    <a:pt x="223" y="212"/>
                    <a:pt x="221" y="214"/>
                    <a:pt x="219" y="214"/>
                  </a:cubicBezTo>
                  <a:cubicBezTo>
                    <a:pt x="219" y="214"/>
                    <a:pt x="219" y="214"/>
                    <a:pt x="219" y="214"/>
                  </a:cubicBezTo>
                  <a:cubicBezTo>
                    <a:pt x="199" y="214"/>
                    <a:pt x="199" y="214"/>
                    <a:pt x="199" y="214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219" y="242"/>
                    <a:pt x="219" y="242"/>
                    <a:pt x="219" y="242"/>
                  </a:cubicBezTo>
                  <a:cubicBezTo>
                    <a:pt x="232" y="242"/>
                    <a:pt x="242" y="232"/>
                    <a:pt x="242" y="219"/>
                  </a:cubicBezTo>
                  <a:cubicBezTo>
                    <a:pt x="242" y="216"/>
                    <a:pt x="242" y="216"/>
                    <a:pt x="242" y="216"/>
                  </a:cubicBezTo>
                  <a:cubicBezTo>
                    <a:pt x="242" y="203"/>
                    <a:pt x="232" y="192"/>
                    <a:pt x="219" y="192"/>
                  </a:cubicBezTo>
                  <a:close/>
                  <a:moveTo>
                    <a:pt x="199" y="170"/>
                  </a:moveTo>
                  <a:cubicBezTo>
                    <a:pt x="269" y="170"/>
                    <a:pt x="269" y="170"/>
                    <a:pt x="269" y="170"/>
                  </a:cubicBezTo>
                  <a:cubicBezTo>
                    <a:pt x="282" y="170"/>
                    <a:pt x="293" y="160"/>
                    <a:pt x="293" y="147"/>
                  </a:cubicBezTo>
                  <a:cubicBezTo>
                    <a:pt x="293" y="24"/>
                    <a:pt x="293" y="24"/>
                    <a:pt x="293" y="24"/>
                  </a:cubicBezTo>
                  <a:cubicBezTo>
                    <a:pt x="293" y="11"/>
                    <a:pt x="282" y="0"/>
                    <a:pt x="26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16"/>
                    <a:pt x="199" y="16"/>
                    <a:pt x="199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67" y="16"/>
                    <a:pt x="275" y="24"/>
                    <a:pt x="275" y="35"/>
                  </a:cubicBezTo>
                  <a:cubicBezTo>
                    <a:pt x="275" y="135"/>
                    <a:pt x="275" y="135"/>
                    <a:pt x="275" y="135"/>
                  </a:cubicBezTo>
                  <a:cubicBezTo>
                    <a:pt x="275" y="146"/>
                    <a:pt x="267" y="154"/>
                    <a:pt x="256" y="154"/>
                  </a:cubicBezTo>
                  <a:cubicBezTo>
                    <a:pt x="199" y="154"/>
                    <a:pt x="199" y="154"/>
                    <a:pt x="199" y="154"/>
                  </a:cubicBezTo>
                  <a:lnTo>
                    <a:pt x="199" y="170"/>
                  </a:lnTo>
                  <a:close/>
                  <a:moveTo>
                    <a:pt x="199" y="192"/>
                  </a:moveTo>
                  <a:cubicBezTo>
                    <a:pt x="175" y="192"/>
                    <a:pt x="175" y="192"/>
                    <a:pt x="175" y="192"/>
                  </a:cubicBezTo>
                  <a:cubicBezTo>
                    <a:pt x="175" y="170"/>
                    <a:pt x="175" y="170"/>
                    <a:pt x="175" y="170"/>
                  </a:cubicBezTo>
                  <a:cubicBezTo>
                    <a:pt x="199" y="170"/>
                    <a:pt x="199" y="170"/>
                    <a:pt x="199" y="170"/>
                  </a:cubicBezTo>
                  <a:cubicBezTo>
                    <a:pt x="199" y="154"/>
                    <a:pt x="199" y="154"/>
                    <a:pt x="199" y="154"/>
                  </a:cubicBezTo>
                  <a:cubicBezTo>
                    <a:pt x="146" y="154"/>
                    <a:pt x="146" y="154"/>
                    <a:pt x="146" y="154"/>
                  </a:cubicBezTo>
                  <a:cubicBezTo>
                    <a:pt x="146" y="242"/>
                    <a:pt x="146" y="242"/>
                    <a:pt x="146" y="242"/>
                  </a:cubicBezTo>
                  <a:cubicBezTo>
                    <a:pt x="199" y="242"/>
                    <a:pt x="199" y="242"/>
                    <a:pt x="199" y="242"/>
                  </a:cubicBezTo>
                  <a:cubicBezTo>
                    <a:pt x="199" y="214"/>
                    <a:pt x="199" y="214"/>
                    <a:pt x="199" y="214"/>
                  </a:cubicBezTo>
                  <a:cubicBezTo>
                    <a:pt x="179" y="214"/>
                    <a:pt x="179" y="214"/>
                    <a:pt x="179" y="214"/>
                  </a:cubicBezTo>
                  <a:cubicBezTo>
                    <a:pt x="177" y="214"/>
                    <a:pt x="175" y="212"/>
                    <a:pt x="175" y="209"/>
                  </a:cubicBezTo>
                  <a:cubicBezTo>
                    <a:pt x="175" y="207"/>
                    <a:pt x="177" y="205"/>
                    <a:pt x="179" y="205"/>
                  </a:cubicBezTo>
                  <a:cubicBezTo>
                    <a:pt x="199" y="205"/>
                    <a:pt x="199" y="205"/>
                    <a:pt x="199" y="205"/>
                  </a:cubicBezTo>
                  <a:cubicBezTo>
                    <a:pt x="199" y="192"/>
                    <a:pt x="199" y="192"/>
                    <a:pt x="199" y="192"/>
                  </a:cubicBezTo>
                  <a:close/>
                  <a:moveTo>
                    <a:pt x="199" y="0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99" y="16"/>
                    <a:pt x="199" y="16"/>
                    <a:pt x="199" y="16"/>
                  </a:cubicBezTo>
                  <a:lnTo>
                    <a:pt x="199" y="0"/>
                  </a:lnTo>
                  <a:close/>
                  <a:moveTo>
                    <a:pt x="146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60"/>
                    <a:pt x="10" y="170"/>
                    <a:pt x="23" y="170"/>
                  </a:cubicBezTo>
                  <a:cubicBezTo>
                    <a:pt x="117" y="170"/>
                    <a:pt x="117" y="170"/>
                    <a:pt x="117" y="170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62" y="192"/>
                    <a:pt x="52" y="203"/>
                    <a:pt x="52" y="216"/>
                  </a:cubicBezTo>
                  <a:cubicBezTo>
                    <a:pt x="52" y="219"/>
                    <a:pt x="52" y="219"/>
                    <a:pt x="52" y="219"/>
                  </a:cubicBezTo>
                  <a:cubicBezTo>
                    <a:pt x="52" y="232"/>
                    <a:pt x="62" y="242"/>
                    <a:pt x="75" y="242"/>
                  </a:cubicBezTo>
                  <a:cubicBezTo>
                    <a:pt x="146" y="242"/>
                    <a:pt x="146" y="242"/>
                    <a:pt x="146" y="242"/>
                  </a:cubicBezTo>
                  <a:cubicBezTo>
                    <a:pt x="146" y="154"/>
                    <a:pt x="146" y="154"/>
                    <a:pt x="146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6" y="154"/>
                    <a:pt x="17" y="146"/>
                    <a:pt x="17" y="1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24"/>
                    <a:pt x="26" y="16"/>
                    <a:pt x="37" y="16"/>
                  </a:cubicBezTo>
                  <a:cubicBezTo>
                    <a:pt x="146" y="16"/>
                    <a:pt x="146" y="16"/>
                    <a:pt x="146" y="16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8" name="Freeform 46">
              <a:extLst>
                <a:ext uri="{FF2B5EF4-FFF2-40B4-BE49-F238E27FC236}">
                  <a16:creationId xmlns:a16="http://schemas.microsoft.com/office/drawing/2014/main" id="{DD8295EB-9F0E-4BCE-8447-E8BB60199C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9774" y="2678032"/>
              <a:ext cx="818937" cy="955427"/>
            </a:xfrm>
            <a:custGeom>
              <a:avLst/>
              <a:gdLst>
                <a:gd name="T0" fmla="*/ 376 w 376"/>
                <a:gd name="T1" fmla="*/ 43 h 438"/>
                <a:gd name="T2" fmla="*/ 324 w 376"/>
                <a:gd name="T3" fmla="*/ 32 h 438"/>
                <a:gd name="T4" fmla="*/ 334 w 376"/>
                <a:gd name="T5" fmla="*/ 54 h 438"/>
                <a:gd name="T6" fmla="*/ 324 w 376"/>
                <a:gd name="T7" fmla="*/ 59 h 438"/>
                <a:gd name="T8" fmla="*/ 272 w 376"/>
                <a:gd name="T9" fmla="*/ 63 h 438"/>
                <a:gd name="T10" fmla="*/ 304 w 376"/>
                <a:gd name="T11" fmla="*/ 98 h 438"/>
                <a:gd name="T12" fmla="*/ 256 w 376"/>
                <a:gd name="T13" fmla="*/ 81 h 438"/>
                <a:gd name="T14" fmla="*/ 271 w 376"/>
                <a:gd name="T15" fmla="*/ 103 h 438"/>
                <a:gd name="T16" fmla="*/ 241 w 376"/>
                <a:gd name="T17" fmla="*/ 100 h 438"/>
                <a:gd name="T18" fmla="*/ 256 w 376"/>
                <a:gd name="T19" fmla="*/ 122 h 438"/>
                <a:gd name="T20" fmla="*/ 226 w 376"/>
                <a:gd name="T21" fmla="*/ 119 h 438"/>
                <a:gd name="T22" fmla="*/ 240 w 376"/>
                <a:gd name="T23" fmla="*/ 140 h 438"/>
                <a:gd name="T24" fmla="*/ 210 w 376"/>
                <a:gd name="T25" fmla="*/ 138 h 438"/>
                <a:gd name="T26" fmla="*/ 242 w 376"/>
                <a:gd name="T27" fmla="*/ 173 h 438"/>
                <a:gd name="T28" fmla="*/ 195 w 376"/>
                <a:gd name="T29" fmla="*/ 156 h 438"/>
                <a:gd name="T30" fmla="*/ 210 w 376"/>
                <a:gd name="T31" fmla="*/ 178 h 438"/>
                <a:gd name="T32" fmla="*/ 180 w 376"/>
                <a:gd name="T33" fmla="*/ 175 h 438"/>
                <a:gd name="T34" fmla="*/ 194 w 376"/>
                <a:gd name="T35" fmla="*/ 197 h 438"/>
                <a:gd name="T36" fmla="*/ 164 w 376"/>
                <a:gd name="T37" fmla="*/ 194 h 438"/>
                <a:gd name="T38" fmla="*/ 179 w 376"/>
                <a:gd name="T39" fmla="*/ 215 h 438"/>
                <a:gd name="T40" fmla="*/ 149 w 376"/>
                <a:gd name="T41" fmla="*/ 213 h 438"/>
                <a:gd name="T42" fmla="*/ 181 w 376"/>
                <a:gd name="T43" fmla="*/ 248 h 438"/>
                <a:gd name="T44" fmla="*/ 134 w 376"/>
                <a:gd name="T45" fmla="*/ 232 h 438"/>
                <a:gd name="T46" fmla="*/ 148 w 376"/>
                <a:gd name="T47" fmla="*/ 253 h 438"/>
                <a:gd name="T48" fmla="*/ 118 w 376"/>
                <a:gd name="T49" fmla="*/ 250 h 438"/>
                <a:gd name="T50" fmla="*/ 133 w 376"/>
                <a:gd name="T51" fmla="*/ 272 h 438"/>
                <a:gd name="T52" fmla="*/ 103 w 376"/>
                <a:gd name="T53" fmla="*/ 269 h 438"/>
                <a:gd name="T54" fmla="*/ 117 w 376"/>
                <a:gd name="T55" fmla="*/ 290 h 438"/>
                <a:gd name="T56" fmla="*/ 88 w 376"/>
                <a:gd name="T57" fmla="*/ 288 h 438"/>
                <a:gd name="T58" fmla="*/ 119 w 376"/>
                <a:gd name="T59" fmla="*/ 323 h 438"/>
                <a:gd name="T60" fmla="*/ 72 w 376"/>
                <a:gd name="T61" fmla="*/ 307 h 438"/>
                <a:gd name="T62" fmla="*/ 87 w 376"/>
                <a:gd name="T63" fmla="*/ 328 h 438"/>
                <a:gd name="T64" fmla="*/ 57 w 376"/>
                <a:gd name="T65" fmla="*/ 325 h 438"/>
                <a:gd name="T66" fmla="*/ 71 w 376"/>
                <a:gd name="T67" fmla="*/ 347 h 438"/>
                <a:gd name="T68" fmla="*/ 42 w 376"/>
                <a:gd name="T69" fmla="*/ 344 h 438"/>
                <a:gd name="T70" fmla="*/ 56 w 376"/>
                <a:gd name="T71" fmla="*/ 366 h 438"/>
                <a:gd name="T72" fmla="*/ 26 w 376"/>
                <a:gd name="T73" fmla="*/ 363 h 438"/>
                <a:gd name="T74" fmla="*/ 58 w 376"/>
                <a:gd name="T75" fmla="*/ 398 h 438"/>
                <a:gd name="T76" fmla="*/ 0 w 376"/>
                <a:gd name="T77" fmla="*/ 395 h 438"/>
                <a:gd name="T78" fmla="*/ 324 w 376"/>
                <a:gd name="T79" fmla="*/ 106 h 438"/>
                <a:gd name="T80" fmla="*/ 316 w 376"/>
                <a:gd name="T81" fmla="*/ 56 h 438"/>
                <a:gd name="T82" fmla="*/ 324 w 376"/>
                <a:gd name="T83" fmla="*/ 32 h 438"/>
                <a:gd name="T84" fmla="*/ 323 w 376"/>
                <a:gd name="T85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6" h="438">
                  <a:moveTo>
                    <a:pt x="324" y="106"/>
                  </a:moveTo>
                  <a:cubicBezTo>
                    <a:pt x="376" y="43"/>
                    <a:pt x="376" y="43"/>
                    <a:pt x="376" y="43"/>
                  </a:cubicBezTo>
                  <a:cubicBezTo>
                    <a:pt x="324" y="1"/>
                    <a:pt x="324" y="1"/>
                    <a:pt x="324" y="1"/>
                  </a:cubicBezTo>
                  <a:cubicBezTo>
                    <a:pt x="324" y="32"/>
                    <a:pt x="324" y="32"/>
                    <a:pt x="324" y="32"/>
                  </a:cubicBezTo>
                  <a:cubicBezTo>
                    <a:pt x="327" y="32"/>
                    <a:pt x="330" y="33"/>
                    <a:pt x="332" y="35"/>
                  </a:cubicBezTo>
                  <a:cubicBezTo>
                    <a:pt x="338" y="40"/>
                    <a:pt x="339" y="49"/>
                    <a:pt x="334" y="54"/>
                  </a:cubicBezTo>
                  <a:cubicBezTo>
                    <a:pt x="334" y="54"/>
                    <a:pt x="334" y="54"/>
                    <a:pt x="334" y="54"/>
                  </a:cubicBezTo>
                  <a:cubicBezTo>
                    <a:pt x="332" y="57"/>
                    <a:pt x="328" y="59"/>
                    <a:pt x="324" y="59"/>
                  </a:cubicBezTo>
                  <a:lnTo>
                    <a:pt x="324" y="106"/>
                  </a:lnTo>
                  <a:close/>
                  <a:moveTo>
                    <a:pt x="272" y="63"/>
                  </a:moveTo>
                  <a:cubicBezTo>
                    <a:pt x="308" y="92"/>
                    <a:pt x="308" y="92"/>
                    <a:pt x="308" y="92"/>
                  </a:cubicBezTo>
                  <a:cubicBezTo>
                    <a:pt x="304" y="98"/>
                    <a:pt x="304" y="98"/>
                    <a:pt x="304" y="9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56" y="81"/>
                    <a:pt x="256" y="81"/>
                    <a:pt x="256" y="81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1" y="103"/>
                    <a:pt x="271" y="103"/>
                    <a:pt x="271" y="103"/>
                  </a:cubicBezTo>
                  <a:cubicBezTo>
                    <a:pt x="252" y="87"/>
                    <a:pt x="252" y="87"/>
                    <a:pt x="252" y="87"/>
                  </a:cubicBezTo>
                  <a:cubicBezTo>
                    <a:pt x="241" y="100"/>
                    <a:pt x="241" y="100"/>
                    <a:pt x="241" y="100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56" y="122"/>
                    <a:pt x="256" y="122"/>
                    <a:pt x="256" y="122"/>
                  </a:cubicBezTo>
                  <a:cubicBezTo>
                    <a:pt x="236" y="106"/>
                    <a:pt x="236" y="106"/>
                    <a:pt x="23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45" y="135"/>
                    <a:pt x="245" y="135"/>
                    <a:pt x="245" y="135"/>
                  </a:cubicBezTo>
                  <a:cubicBezTo>
                    <a:pt x="240" y="140"/>
                    <a:pt x="240" y="140"/>
                    <a:pt x="240" y="140"/>
                  </a:cubicBezTo>
                  <a:cubicBezTo>
                    <a:pt x="221" y="125"/>
                    <a:pt x="221" y="125"/>
                    <a:pt x="221" y="125"/>
                  </a:cubicBezTo>
                  <a:cubicBezTo>
                    <a:pt x="210" y="138"/>
                    <a:pt x="210" y="138"/>
                    <a:pt x="210" y="138"/>
                  </a:cubicBezTo>
                  <a:cubicBezTo>
                    <a:pt x="247" y="167"/>
                    <a:pt x="247" y="167"/>
                    <a:pt x="247" y="167"/>
                  </a:cubicBezTo>
                  <a:cubicBezTo>
                    <a:pt x="242" y="173"/>
                    <a:pt x="242" y="173"/>
                    <a:pt x="242" y="173"/>
                  </a:cubicBezTo>
                  <a:cubicBezTo>
                    <a:pt x="206" y="143"/>
                    <a:pt x="206" y="143"/>
                    <a:pt x="206" y="143"/>
                  </a:cubicBezTo>
                  <a:cubicBezTo>
                    <a:pt x="195" y="156"/>
                    <a:pt x="195" y="156"/>
                    <a:pt x="195" y="156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80" y="175"/>
                    <a:pt x="180" y="175"/>
                    <a:pt x="180" y="175"/>
                  </a:cubicBezTo>
                  <a:cubicBezTo>
                    <a:pt x="199" y="191"/>
                    <a:pt x="199" y="191"/>
                    <a:pt x="199" y="191"/>
                  </a:cubicBezTo>
                  <a:cubicBezTo>
                    <a:pt x="194" y="197"/>
                    <a:pt x="194" y="197"/>
                    <a:pt x="194" y="197"/>
                  </a:cubicBezTo>
                  <a:cubicBezTo>
                    <a:pt x="175" y="181"/>
                    <a:pt x="175" y="181"/>
                    <a:pt x="175" y="181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84" y="210"/>
                    <a:pt x="184" y="210"/>
                    <a:pt x="184" y="210"/>
                  </a:cubicBezTo>
                  <a:cubicBezTo>
                    <a:pt x="179" y="215"/>
                    <a:pt x="179" y="215"/>
                    <a:pt x="179" y="215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85" y="243"/>
                    <a:pt x="185" y="243"/>
                    <a:pt x="185" y="243"/>
                  </a:cubicBezTo>
                  <a:cubicBezTo>
                    <a:pt x="181" y="248"/>
                    <a:pt x="181" y="248"/>
                    <a:pt x="181" y="248"/>
                  </a:cubicBezTo>
                  <a:cubicBezTo>
                    <a:pt x="144" y="218"/>
                    <a:pt x="144" y="218"/>
                    <a:pt x="144" y="218"/>
                  </a:cubicBezTo>
                  <a:cubicBezTo>
                    <a:pt x="134" y="232"/>
                    <a:pt x="134" y="232"/>
                    <a:pt x="134" y="232"/>
                  </a:cubicBezTo>
                  <a:cubicBezTo>
                    <a:pt x="153" y="247"/>
                    <a:pt x="153" y="247"/>
                    <a:pt x="153" y="247"/>
                  </a:cubicBezTo>
                  <a:cubicBezTo>
                    <a:pt x="148" y="253"/>
                    <a:pt x="148" y="253"/>
                    <a:pt x="148" y="253"/>
                  </a:cubicBezTo>
                  <a:cubicBezTo>
                    <a:pt x="129" y="237"/>
                    <a:pt x="129" y="237"/>
                    <a:pt x="129" y="237"/>
                  </a:cubicBezTo>
                  <a:cubicBezTo>
                    <a:pt x="118" y="250"/>
                    <a:pt x="118" y="250"/>
                    <a:pt x="118" y="250"/>
                  </a:cubicBezTo>
                  <a:cubicBezTo>
                    <a:pt x="137" y="266"/>
                    <a:pt x="137" y="266"/>
                    <a:pt x="137" y="266"/>
                  </a:cubicBezTo>
                  <a:cubicBezTo>
                    <a:pt x="133" y="272"/>
                    <a:pt x="133" y="272"/>
                    <a:pt x="133" y="272"/>
                  </a:cubicBezTo>
                  <a:cubicBezTo>
                    <a:pt x="114" y="256"/>
                    <a:pt x="114" y="256"/>
                    <a:pt x="114" y="256"/>
                  </a:cubicBezTo>
                  <a:cubicBezTo>
                    <a:pt x="103" y="269"/>
                    <a:pt x="103" y="269"/>
                    <a:pt x="103" y="269"/>
                  </a:cubicBezTo>
                  <a:cubicBezTo>
                    <a:pt x="122" y="285"/>
                    <a:pt x="122" y="285"/>
                    <a:pt x="122" y="285"/>
                  </a:cubicBezTo>
                  <a:cubicBezTo>
                    <a:pt x="117" y="290"/>
                    <a:pt x="117" y="290"/>
                    <a:pt x="117" y="290"/>
                  </a:cubicBezTo>
                  <a:cubicBezTo>
                    <a:pt x="98" y="275"/>
                    <a:pt x="98" y="275"/>
                    <a:pt x="98" y="275"/>
                  </a:cubicBezTo>
                  <a:cubicBezTo>
                    <a:pt x="88" y="288"/>
                    <a:pt x="88" y="288"/>
                    <a:pt x="88" y="288"/>
                  </a:cubicBezTo>
                  <a:cubicBezTo>
                    <a:pt x="124" y="318"/>
                    <a:pt x="124" y="318"/>
                    <a:pt x="124" y="318"/>
                  </a:cubicBezTo>
                  <a:cubicBezTo>
                    <a:pt x="119" y="323"/>
                    <a:pt x="119" y="323"/>
                    <a:pt x="119" y="323"/>
                  </a:cubicBezTo>
                  <a:cubicBezTo>
                    <a:pt x="83" y="294"/>
                    <a:pt x="83" y="294"/>
                    <a:pt x="83" y="294"/>
                  </a:cubicBezTo>
                  <a:cubicBezTo>
                    <a:pt x="72" y="307"/>
                    <a:pt x="72" y="307"/>
                    <a:pt x="72" y="307"/>
                  </a:cubicBezTo>
                  <a:cubicBezTo>
                    <a:pt x="91" y="322"/>
                    <a:pt x="91" y="322"/>
                    <a:pt x="91" y="322"/>
                  </a:cubicBezTo>
                  <a:cubicBezTo>
                    <a:pt x="87" y="328"/>
                    <a:pt x="87" y="328"/>
                    <a:pt x="87" y="328"/>
                  </a:cubicBezTo>
                  <a:cubicBezTo>
                    <a:pt x="68" y="312"/>
                    <a:pt x="68" y="312"/>
                    <a:pt x="68" y="312"/>
                  </a:cubicBezTo>
                  <a:cubicBezTo>
                    <a:pt x="57" y="325"/>
                    <a:pt x="57" y="325"/>
                    <a:pt x="57" y="325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71" y="347"/>
                    <a:pt x="71" y="347"/>
                    <a:pt x="71" y="347"/>
                  </a:cubicBezTo>
                  <a:cubicBezTo>
                    <a:pt x="52" y="331"/>
                    <a:pt x="52" y="331"/>
                    <a:pt x="52" y="331"/>
                  </a:cubicBezTo>
                  <a:cubicBezTo>
                    <a:pt x="42" y="344"/>
                    <a:pt x="42" y="344"/>
                    <a:pt x="42" y="344"/>
                  </a:cubicBezTo>
                  <a:cubicBezTo>
                    <a:pt x="61" y="360"/>
                    <a:pt x="61" y="360"/>
                    <a:pt x="61" y="360"/>
                  </a:cubicBezTo>
                  <a:cubicBezTo>
                    <a:pt x="56" y="366"/>
                    <a:pt x="56" y="366"/>
                    <a:pt x="56" y="366"/>
                  </a:cubicBezTo>
                  <a:cubicBezTo>
                    <a:pt x="37" y="350"/>
                    <a:pt x="37" y="350"/>
                    <a:pt x="37" y="350"/>
                  </a:cubicBezTo>
                  <a:cubicBezTo>
                    <a:pt x="26" y="363"/>
                    <a:pt x="26" y="363"/>
                    <a:pt x="26" y="363"/>
                  </a:cubicBezTo>
                  <a:cubicBezTo>
                    <a:pt x="63" y="393"/>
                    <a:pt x="63" y="393"/>
                    <a:pt x="63" y="393"/>
                  </a:cubicBezTo>
                  <a:cubicBezTo>
                    <a:pt x="58" y="398"/>
                    <a:pt x="58" y="398"/>
                    <a:pt x="58" y="398"/>
                  </a:cubicBezTo>
                  <a:cubicBezTo>
                    <a:pt x="22" y="369"/>
                    <a:pt x="22" y="369"/>
                    <a:pt x="22" y="369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53" y="438"/>
                    <a:pt x="53" y="438"/>
                    <a:pt x="53" y="438"/>
                  </a:cubicBezTo>
                  <a:cubicBezTo>
                    <a:pt x="324" y="106"/>
                    <a:pt x="324" y="106"/>
                    <a:pt x="324" y="106"/>
                  </a:cubicBezTo>
                  <a:cubicBezTo>
                    <a:pt x="324" y="59"/>
                    <a:pt x="324" y="59"/>
                    <a:pt x="324" y="59"/>
                  </a:cubicBezTo>
                  <a:cubicBezTo>
                    <a:pt x="321" y="59"/>
                    <a:pt x="318" y="58"/>
                    <a:pt x="316" y="56"/>
                  </a:cubicBezTo>
                  <a:cubicBezTo>
                    <a:pt x="310" y="51"/>
                    <a:pt x="309" y="43"/>
                    <a:pt x="314" y="37"/>
                  </a:cubicBezTo>
                  <a:cubicBezTo>
                    <a:pt x="316" y="34"/>
                    <a:pt x="320" y="32"/>
                    <a:pt x="324" y="32"/>
                  </a:cubicBezTo>
                  <a:cubicBezTo>
                    <a:pt x="324" y="1"/>
                    <a:pt x="324" y="1"/>
                    <a:pt x="324" y="1"/>
                  </a:cubicBezTo>
                  <a:cubicBezTo>
                    <a:pt x="323" y="0"/>
                    <a:pt x="323" y="0"/>
                    <a:pt x="323" y="0"/>
                  </a:cubicBezTo>
                  <a:lnTo>
                    <a:pt x="272" y="63"/>
                  </a:ln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39" name="Freeform 47">
              <a:extLst>
                <a:ext uri="{FF2B5EF4-FFF2-40B4-BE49-F238E27FC236}">
                  <a16:creationId xmlns:a16="http://schemas.microsoft.com/office/drawing/2014/main" id="{83F870BA-A8A0-465D-BEB1-E688D9EFEA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90325" y="2957360"/>
              <a:ext cx="353921" cy="695144"/>
            </a:xfrm>
            <a:custGeom>
              <a:avLst/>
              <a:gdLst>
                <a:gd name="T0" fmla="*/ 121 w 162"/>
                <a:gd name="T1" fmla="*/ 144 h 319"/>
                <a:gd name="T2" fmla="*/ 128 w 162"/>
                <a:gd name="T3" fmla="*/ 138 h 319"/>
                <a:gd name="T4" fmla="*/ 150 w 162"/>
                <a:gd name="T5" fmla="*/ 80 h 319"/>
                <a:gd name="T6" fmla="*/ 147 w 162"/>
                <a:gd name="T7" fmla="*/ 69 h 319"/>
                <a:gd name="T8" fmla="*/ 156 w 162"/>
                <a:gd name="T9" fmla="*/ 46 h 319"/>
                <a:gd name="T10" fmla="*/ 137 w 162"/>
                <a:gd name="T11" fmla="*/ 3 h 319"/>
                <a:gd name="T12" fmla="*/ 121 w 162"/>
                <a:gd name="T13" fmla="*/ 1 h 319"/>
                <a:gd name="T14" fmla="*/ 121 w 162"/>
                <a:gd name="T15" fmla="*/ 58 h 319"/>
                <a:gd name="T16" fmla="*/ 126 w 162"/>
                <a:gd name="T17" fmla="*/ 61 h 319"/>
                <a:gd name="T18" fmla="*/ 121 w 162"/>
                <a:gd name="T19" fmla="*/ 59 h 319"/>
                <a:gd name="T20" fmla="*/ 121 w 162"/>
                <a:gd name="T21" fmla="*/ 85 h 319"/>
                <a:gd name="T22" fmla="*/ 125 w 162"/>
                <a:gd name="T23" fmla="*/ 75 h 319"/>
                <a:gd name="T24" fmla="*/ 123 w 162"/>
                <a:gd name="T25" fmla="*/ 66 h 319"/>
                <a:gd name="T26" fmla="*/ 139 w 162"/>
                <a:gd name="T27" fmla="*/ 72 h 319"/>
                <a:gd name="T28" fmla="*/ 144 w 162"/>
                <a:gd name="T29" fmla="*/ 83 h 319"/>
                <a:gd name="T30" fmla="*/ 125 w 162"/>
                <a:gd name="T31" fmla="*/ 132 h 319"/>
                <a:gd name="T32" fmla="*/ 121 w 162"/>
                <a:gd name="T33" fmla="*/ 136 h 319"/>
                <a:gd name="T34" fmla="*/ 121 w 162"/>
                <a:gd name="T35" fmla="*/ 144 h 319"/>
                <a:gd name="T36" fmla="*/ 66 w 162"/>
                <a:gd name="T37" fmla="*/ 284 h 319"/>
                <a:gd name="T38" fmla="*/ 121 w 162"/>
                <a:gd name="T39" fmla="*/ 144 h 319"/>
                <a:gd name="T40" fmla="*/ 121 w 162"/>
                <a:gd name="T41" fmla="*/ 144 h 319"/>
                <a:gd name="T42" fmla="*/ 121 w 162"/>
                <a:gd name="T43" fmla="*/ 136 h 319"/>
                <a:gd name="T44" fmla="*/ 114 w 162"/>
                <a:gd name="T45" fmla="*/ 137 h 319"/>
                <a:gd name="T46" fmla="*/ 98 w 162"/>
                <a:gd name="T47" fmla="*/ 130 h 319"/>
                <a:gd name="T48" fmla="*/ 98 w 162"/>
                <a:gd name="T49" fmla="*/ 130 h 319"/>
                <a:gd name="T50" fmla="*/ 106 w 162"/>
                <a:gd name="T51" fmla="*/ 125 h 319"/>
                <a:gd name="T52" fmla="*/ 121 w 162"/>
                <a:gd name="T53" fmla="*/ 85 h 319"/>
                <a:gd name="T54" fmla="*/ 121 w 162"/>
                <a:gd name="T55" fmla="*/ 59 h 319"/>
                <a:gd name="T56" fmla="*/ 85 w 162"/>
                <a:gd name="T57" fmla="*/ 45 h 319"/>
                <a:gd name="T58" fmla="*/ 74 w 162"/>
                <a:gd name="T59" fmla="*/ 51 h 319"/>
                <a:gd name="T60" fmla="*/ 52 w 162"/>
                <a:gd name="T61" fmla="*/ 108 h 319"/>
                <a:gd name="T62" fmla="*/ 54 w 162"/>
                <a:gd name="T63" fmla="*/ 118 h 319"/>
                <a:gd name="T64" fmla="*/ 35 w 162"/>
                <a:gd name="T65" fmla="*/ 168 h 319"/>
                <a:gd name="T66" fmla="*/ 35 w 162"/>
                <a:gd name="T67" fmla="*/ 256 h 319"/>
                <a:gd name="T68" fmla="*/ 39 w 162"/>
                <a:gd name="T69" fmla="*/ 257 h 319"/>
                <a:gd name="T70" fmla="*/ 45 w 162"/>
                <a:gd name="T71" fmla="*/ 268 h 319"/>
                <a:gd name="T72" fmla="*/ 58 w 162"/>
                <a:gd name="T73" fmla="*/ 264 h 319"/>
                <a:gd name="T74" fmla="*/ 64 w 162"/>
                <a:gd name="T75" fmla="*/ 278 h 319"/>
                <a:gd name="T76" fmla="*/ 63 w 162"/>
                <a:gd name="T77" fmla="*/ 281 h 319"/>
                <a:gd name="T78" fmla="*/ 35 w 162"/>
                <a:gd name="T79" fmla="*/ 300 h 319"/>
                <a:gd name="T80" fmla="*/ 35 w 162"/>
                <a:gd name="T81" fmla="*/ 306 h 319"/>
                <a:gd name="T82" fmla="*/ 66 w 162"/>
                <a:gd name="T83" fmla="*/ 284 h 319"/>
                <a:gd name="T84" fmla="*/ 121 w 162"/>
                <a:gd name="T85" fmla="*/ 1 h 319"/>
                <a:gd name="T86" fmla="*/ 121 w 162"/>
                <a:gd name="T87" fmla="*/ 58 h 319"/>
                <a:gd name="T88" fmla="*/ 88 w 162"/>
                <a:gd name="T89" fmla="*/ 36 h 319"/>
                <a:gd name="T90" fmla="*/ 94 w 162"/>
                <a:gd name="T91" fmla="*/ 22 h 319"/>
                <a:gd name="T92" fmla="*/ 121 w 162"/>
                <a:gd name="T93" fmla="*/ 1 h 319"/>
                <a:gd name="T94" fmla="*/ 35 w 162"/>
                <a:gd name="T95" fmla="*/ 168 h 319"/>
                <a:gd name="T96" fmla="*/ 0 w 162"/>
                <a:gd name="T97" fmla="*/ 258 h 319"/>
                <a:gd name="T98" fmla="*/ 15 w 162"/>
                <a:gd name="T99" fmla="*/ 319 h 319"/>
                <a:gd name="T100" fmla="*/ 35 w 162"/>
                <a:gd name="T101" fmla="*/ 306 h 319"/>
                <a:gd name="T102" fmla="*/ 35 w 162"/>
                <a:gd name="T103" fmla="*/ 300 h 319"/>
                <a:gd name="T104" fmla="*/ 33 w 162"/>
                <a:gd name="T105" fmla="*/ 301 h 319"/>
                <a:gd name="T106" fmla="*/ 13 w 162"/>
                <a:gd name="T107" fmla="*/ 294 h 319"/>
                <a:gd name="T108" fmla="*/ 5 w 162"/>
                <a:gd name="T109" fmla="*/ 259 h 319"/>
                <a:gd name="T110" fmla="*/ 5 w 162"/>
                <a:gd name="T111" fmla="*/ 259 h 319"/>
                <a:gd name="T112" fmla="*/ 6 w 162"/>
                <a:gd name="T113" fmla="*/ 256 h 319"/>
                <a:gd name="T114" fmla="*/ 19 w 162"/>
                <a:gd name="T115" fmla="*/ 250 h 319"/>
                <a:gd name="T116" fmla="*/ 26 w 162"/>
                <a:gd name="T117" fmla="*/ 261 h 319"/>
                <a:gd name="T118" fmla="*/ 35 w 162"/>
                <a:gd name="T119" fmla="*/ 256 h 319"/>
                <a:gd name="T120" fmla="*/ 35 w 162"/>
                <a:gd name="T121" fmla="*/ 16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2" h="319">
                  <a:moveTo>
                    <a:pt x="121" y="144"/>
                  </a:moveTo>
                  <a:cubicBezTo>
                    <a:pt x="124" y="143"/>
                    <a:pt x="127" y="141"/>
                    <a:pt x="128" y="138"/>
                  </a:cubicBezTo>
                  <a:cubicBezTo>
                    <a:pt x="150" y="80"/>
                    <a:pt x="150" y="80"/>
                    <a:pt x="150" y="80"/>
                  </a:cubicBezTo>
                  <a:cubicBezTo>
                    <a:pt x="152" y="76"/>
                    <a:pt x="150" y="71"/>
                    <a:pt x="147" y="69"/>
                  </a:cubicBezTo>
                  <a:cubicBezTo>
                    <a:pt x="156" y="46"/>
                    <a:pt x="156" y="46"/>
                    <a:pt x="156" y="46"/>
                  </a:cubicBezTo>
                  <a:cubicBezTo>
                    <a:pt x="162" y="29"/>
                    <a:pt x="154" y="9"/>
                    <a:pt x="137" y="3"/>
                  </a:cubicBezTo>
                  <a:cubicBezTo>
                    <a:pt x="132" y="1"/>
                    <a:pt x="126" y="0"/>
                    <a:pt x="121" y="1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6" y="61"/>
                    <a:pt x="126" y="61"/>
                    <a:pt x="126" y="61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1" y="85"/>
                    <a:pt x="121" y="85"/>
                    <a:pt x="121" y="8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6" y="72"/>
                    <a:pt x="126" y="68"/>
                    <a:pt x="123" y="66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43" y="73"/>
                    <a:pt x="146" y="78"/>
                    <a:pt x="144" y="8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124" y="134"/>
                    <a:pt x="123" y="135"/>
                    <a:pt x="121" y="136"/>
                  </a:cubicBezTo>
                  <a:lnTo>
                    <a:pt x="121" y="144"/>
                  </a:lnTo>
                  <a:close/>
                  <a:moveTo>
                    <a:pt x="66" y="284"/>
                  </a:move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36"/>
                    <a:pt x="121" y="136"/>
                    <a:pt x="121" y="136"/>
                  </a:cubicBezTo>
                  <a:cubicBezTo>
                    <a:pt x="119" y="137"/>
                    <a:pt x="117" y="137"/>
                    <a:pt x="114" y="137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102" y="130"/>
                    <a:pt x="105" y="128"/>
                    <a:pt x="106" y="125"/>
                  </a:cubicBezTo>
                  <a:cubicBezTo>
                    <a:pt x="121" y="85"/>
                    <a:pt x="121" y="85"/>
                    <a:pt x="121" y="85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0" y="44"/>
                    <a:pt x="76" y="47"/>
                    <a:pt x="74" y="51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51" y="112"/>
                    <a:pt x="52" y="115"/>
                    <a:pt x="54" y="118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5" y="256"/>
                    <a:pt x="35" y="256"/>
                    <a:pt x="35" y="256"/>
                  </a:cubicBezTo>
                  <a:cubicBezTo>
                    <a:pt x="36" y="256"/>
                    <a:pt x="37" y="257"/>
                    <a:pt x="39" y="257"/>
                  </a:cubicBezTo>
                  <a:cubicBezTo>
                    <a:pt x="43" y="259"/>
                    <a:pt x="46" y="264"/>
                    <a:pt x="45" y="268"/>
                  </a:cubicBezTo>
                  <a:cubicBezTo>
                    <a:pt x="48" y="264"/>
                    <a:pt x="53" y="263"/>
                    <a:pt x="58" y="264"/>
                  </a:cubicBezTo>
                  <a:cubicBezTo>
                    <a:pt x="63" y="267"/>
                    <a:pt x="66" y="273"/>
                    <a:pt x="64" y="278"/>
                  </a:cubicBezTo>
                  <a:cubicBezTo>
                    <a:pt x="63" y="281"/>
                    <a:pt x="63" y="281"/>
                    <a:pt x="63" y="281"/>
                  </a:cubicBezTo>
                  <a:cubicBezTo>
                    <a:pt x="35" y="300"/>
                    <a:pt x="35" y="300"/>
                    <a:pt x="35" y="300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66" y="284"/>
                    <a:pt x="66" y="284"/>
                    <a:pt x="66" y="284"/>
                  </a:cubicBezTo>
                  <a:close/>
                  <a:moveTo>
                    <a:pt x="121" y="1"/>
                  </a:moveTo>
                  <a:cubicBezTo>
                    <a:pt x="121" y="58"/>
                    <a:pt x="121" y="58"/>
                    <a:pt x="121" y="58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8" y="10"/>
                    <a:pt x="109" y="2"/>
                    <a:pt x="121" y="1"/>
                  </a:cubicBezTo>
                  <a:close/>
                  <a:moveTo>
                    <a:pt x="35" y="168"/>
                  </a:moveTo>
                  <a:cubicBezTo>
                    <a:pt x="0" y="258"/>
                    <a:pt x="0" y="258"/>
                    <a:pt x="0" y="258"/>
                  </a:cubicBezTo>
                  <a:cubicBezTo>
                    <a:pt x="15" y="319"/>
                    <a:pt x="15" y="319"/>
                    <a:pt x="15" y="319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35" y="300"/>
                    <a:pt x="35" y="300"/>
                    <a:pt x="35" y="300"/>
                  </a:cubicBezTo>
                  <a:cubicBezTo>
                    <a:pt x="33" y="301"/>
                    <a:pt x="33" y="301"/>
                    <a:pt x="33" y="301"/>
                  </a:cubicBezTo>
                  <a:cubicBezTo>
                    <a:pt x="13" y="294"/>
                    <a:pt x="13" y="294"/>
                    <a:pt x="13" y="294"/>
                  </a:cubicBezTo>
                  <a:cubicBezTo>
                    <a:pt x="5" y="259"/>
                    <a:pt x="5" y="259"/>
                    <a:pt x="5" y="259"/>
                  </a:cubicBezTo>
                  <a:cubicBezTo>
                    <a:pt x="5" y="259"/>
                    <a:pt x="5" y="259"/>
                    <a:pt x="5" y="259"/>
                  </a:cubicBezTo>
                  <a:cubicBezTo>
                    <a:pt x="6" y="256"/>
                    <a:pt x="6" y="256"/>
                    <a:pt x="6" y="256"/>
                  </a:cubicBezTo>
                  <a:cubicBezTo>
                    <a:pt x="8" y="250"/>
                    <a:pt x="14" y="248"/>
                    <a:pt x="19" y="250"/>
                  </a:cubicBezTo>
                  <a:cubicBezTo>
                    <a:pt x="24" y="251"/>
                    <a:pt x="27" y="256"/>
                    <a:pt x="26" y="261"/>
                  </a:cubicBezTo>
                  <a:cubicBezTo>
                    <a:pt x="28" y="258"/>
                    <a:pt x="31" y="256"/>
                    <a:pt x="35" y="256"/>
                  </a:cubicBezTo>
                  <a:lnTo>
                    <a:pt x="35" y="168"/>
                  </a:ln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0" name="Freeform 48">
              <a:extLst>
                <a:ext uri="{FF2B5EF4-FFF2-40B4-BE49-F238E27FC236}">
                  <a16:creationId xmlns:a16="http://schemas.microsoft.com/office/drawing/2014/main" id="{3CB533A0-E57A-43E3-819F-884B7CE22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5571" y="3046238"/>
              <a:ext cx="579287" cy="579287"/>
            </a:xfrm>
            <a:custGeom>
              <a:avLst/>
              <a:gdLst>
                <a:gd name="T0" fmla="*/ 133 w 266"/>
                <a:gd name="T1" fmla="*/ 0 h 266"/>
                <a:gd name="T2" fmla="*/ 133 w 266"/>
                <a:gd name="T3" fmla="*/ 0 h 266"/>
                <a:gd name="T4" fmla="*/ 133 w 266"/>
                <a:gd name="T5" fmla="*/ 35 h 266"/>
                <a:gd name="T6" fmla="*/ 150 w 266"/>
                <a:gd name="T7" fmla="*/ 24 h 266"/>
                <a:gd name="T8" fmla="*/ 242 w 266"/>
                <a:gd name="T9" fmla="*/ 117 h 266"/>
                <a:gd name="T10" fmla="*/ 231 w 266"/>
                <a:gd name="T11" fmla="*/ 133 h 266"/>
                <a:gd name="T12" fmla="*/ 242 w 266"/>
                <a:gd name="T13" fmla="*/ 149 h 266"/>
                <a:gd name="T14" fmla="*/ 150 w 266"/>
                <a:gd name="T15" fmla="*/ 242 h 266"/>
                <a:gd name="T16" fmla="*/ 150 w 266"/>
                <a:gd name="T17" fmla="*/ 242 h 266"/>
                <a:gd name="T18" fmla="*/ 133 w 266"/>
                <a:gd name="T19" fmla="*/ 231 h 266"/>
                <a:gd name="T20" fmla="*/ 133 w 266"/>
                <a:gd name="T21" fmla="*/ 266 h 266"/>
                <a:gd name="T22" fmla="*/ 133 w 266"/>
                <a:gd name="T23" fmla="*/ 266 h 266"/>
                <a:gd name="T24" fmla="*/ 266 w 266"/>
                <a:gd name="T25" fmla="*/ 133 h 266"/>
                <a:gd name="T26" fmla="*/ 133 w 266"/>
                <a:gd name="T27" fmla="*/ 0 h 266"/>
                <a:gd name="T28" fmla="*/ 133 w 266"/>
                <a:gd name="T29" fmla="*/ 0 h 266"/>
                <a:gd name="T30" fmla="*/ 133 w 266"/>
                <a:gd name="T31" fmla="*/ 0 h 266"/>
                <a:gd name="T32" fmla="*/ 0 w 266"/>
                <a:gd name="T33" fmla="*/ 133 h 266"/>
                <a:gd name="T34" fmla="*/ 133 w 266"/>
                <a:gd name="T35" fmla="*/ 266 h 266"/>
                <a:gd name="T36" fmla="*/ 133 w 266"/>
                <a:gd name="T37" fmla="*/ 266 h 266"/>
                <a:gd name="T38" fmla="*/ 133 w 266"/>
                <a:gd name="T39" fmla="*/ 231 h 266"/>
                <a:gd name="T40" fmla="*/ 133 w 266"/>
                <a:gd name="T41" fmla="*/ 231 h 266"/>
                <a:gd name="T42" fmla="*/ 117 w 266"/>
                <a:gd name="T43" fmla="*/ 242 h 266"/>
                <a:gd name="T44" fmla="*/ 24 w 266"/>
                <a:gd name="T45" fmla="*/ 149 h 266"/>
                <a:gd name="T46" fmla="*/ 35 w 266"/>
                <a:gd name="T47" fmla="*/ 133 h 266"/>
                <a:gd name="T48" fmla="*/ 24 w 266"/>
                <a:gd name="T49" fmla="*/ 117 h 266"/>
                <a:gd name="T50" fmla="*/ 117 w 266"/>
                <a:gd name="T51" fmla="*/ 24 h 266"/>
                <a:gd name="T52" fmla="*/ 133 w 266"/>
                <a:gd name="T53" fmla="*/ 35 h 266"/>
                <a:gd name="T54" fmla="*/ 133 w 266"/>
                <a:gd name="T55" fmla="*/ 35 h 266"/>
                <a:gd name="T56" fmla="*/ 133 w 266"/>
                <a:gd name="T57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" h="266">
                  <a:moveTo>
                    <a:pt x="133" y="0"/>
                  </a:moveTo>
                  <a:cubicBezTo>
                    <a:pt x="133" y="0"/>
                    <a:pt x="133" y="0"/>
                    <a:pt x="133" y="0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41" y="35"/>
                    <a:pt x="147" y="30"/>
                    <a:pt x="150" y="24"/>
                  </a:cubicBezTo>
                  <a:cubicBezTo>
                    <a:pt x="197" y="31"/>
                    <a:pt x="235" y="69"/>
                    <a:pt x="242" y="117"/>
                  </a:cubicBezTo>
                  <a:cubicBezTo>
                    <a:pt x="236" y="119"/>
                    <a:pt x="231" y="125"/>
                    <a:pt x="231" y="133"/>
                  </a:cubicBezTo>
                  <a:cubicBezTo>
                    <a:pt x="231" y="140"/>
                    <a:pt x="236" y="147"/>
                    <a:pt x="242" y="149"/>
                  </a:cubicBezTo>
                  <a:cubicBezTo>
                    <a:pt x="235" y="197"/>
                    <a:pt x="197" y="235"/>
                    <a:pt x="150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47" y="236"/>
                    <a:pt x="141" y="231"/>
                    <a:pt x="133" y="231"/>
                  </a:cubicBezTo>
                  <a:cubicBezTo>
                    <a:pt x="133" y="266"/>
                    <a:pt x="133" y="266"/>
                    <a:pt x="133" y="266"/>
                  </a:cubicBezTo>
                  <a:cubicBezTo>
                    <a:pt x="133" y="266"/>
                    <a:pt x="133" y="266"/>
                    <a:pt x="133" y="266"/>
                  </a:cubicBezTo>
                  <a:cubicBezTo>
                    <a:pt x="207" y="266"/>
                    <a:pt x="266" y="206"/>
                    <a:pt x="266" y="133"/>
                  </a:cubicBezTo>
                  <a:cubicBezTo>
                    <a:pt x="266" y="59"/>
                    <a:pt x="207" y="0"/>
                    <a:pt x="133" y="0"/>
                  </a:cubicBezTo>
                  <a:close/>
                  <a:moveTo>
                    <a:pt x="133" y="0"/>
                  </a:moveTo>
                  <a:cubicBezTo>
                    <a:pt x="133" y="0"/>
                    <a:pt x="133" y="0"/>
                    <a:pt x="133" y="0"/>
                  </a:cubicBezTo>
                  <a:cubicBezTo>
                    <a:pt x="60" y="0"/>
                    <a:pt x="0" y="59"/>
                    <a:pt x="0" y="133"/>
                  </a:cubicBezTo>
                  <a:cubicBezTo>
                    <a:pt x="0" y="206"/>
                    <a:pt x="60" y="266"/>
                    <a:pt x="133" y="266"/>
                  </a:cubicBezTo>
                  <a:cubicBezTo>
                    <a:pt x="133" y="266"/>
                    <a:pt x="133" y="266"/>
                    <a:pt x="133" y="266"/>
                  </a:cubicBezTo>
                  <a:cubicBezTo>
                    <a:pt x="133" y="231"/>
                    <a:pt x="133" y="231"/>
                    <a:pt x="133" y="231"/>
                  </a:cubicBezTo>
                  <a:cubicBezTo>
                    <a:pt x="133" y="231"/>
                    <a:pt x="133" y="231"/>
                    <a:pt x="133" y="231"/>
                  </a:cubicBezTo>
                  <a:cubicBezTo>
                    <a:pt x="126" y="231"/>
                    <a:pt x="120" y="236"/>
                    <a:pt x="117" y="242"/>
                  </a:cubicBezTo>
                  <a:cubicBezTo>
                    <a:pt x="69" y="235"/>
                    <a:pt x="31" y="197"/>
                    <a:pt x="24" y="149"/>
                  </a:cubicBezTo>
                  <a:cubicBezTo>
                    <a:pt x="31" y="147"/>
                    <a:pt x="35" y="140"/>
                    <a:pt x="35" y="133"/>
                  </a:cubicBezTo>
                  <a:cubicBezTo>
                    <a:pt x="35" y="125"/>
                    <a:pt x="31" y="119"/>
                    <a:pt x="24" y="117"/>
                  </a:cubicBezTo>
                  <a:cubicBezTo>
                    <a:pt x="31" y="69"/>
                    <a:pt x="69" y="31"/>
                    <a:pt x="117" y="24"/>
                  </a:cubicBezTo>
                  <a:cubicBezTo>
                    <a:pt x="120" y="30"/>
                    <a:pt x="126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lnTo>
                    <a:pt x="133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1" name="Freeform 49">
              <a:extLst>
                <a:ext uri="{FF2B5EF4-FFF2-40B4-BE49-F238E27FC236}">
                  <a16:creationId xmlns:a16="http://schemas.microsoft.com/office/drawing/2014/main" id="{6E6B5CFC-1B5D-4273-AB8F-4C9054D6AE15}"/>
                </a:ext>
              </a:extLst>
            </p:cNvPr>
            <p:cNvSpPr/>
            <p:nvPr/>
          </p:nvSpPr>
          <p:spPr bwMode="auto">
            <a:xfrm>
              <a:off x="8161908" y="3230339"/>
              <a:ext cx="288849" cy="152360"/>
            </a:xfrm>
            <a:custGeom>
              <a:avLst/>
              <a:gdLst>
                <a:gd name="T0" fmla="*/ 124 w 133"/>
                <a:gd name="T1" fmla="*/ 0 h 70"/>
                <a:gd name="T2" fmla="*/ 93 w 133"/>
                <a:gd name="T3" fmla="*/ 30 h 70"/>
                <a:gd name="T4" fmla="*/ 84 w 133"/>
                <a:gd name="T5" fmla="*/ 28 h 70"/>
                <a:gd name="T6" fmla="*/ 65 w 133"/>
                <a:gd name="T7" fmla="*/ 42 h 70"/>
                <a:gd name="T8" fmla="*/ 0 w 133"/>
                <a:gd name="T9" fmla="*/ 42 h 70"/>
                <a:gd name="T10" fmla="*/ 0 w 133"/>
                <a:gd name="T11" fmla="*/ 56 h 70"/>
                <a:gd name="T12" fmla="*/ 65 w 133"/>
                <a:gd name="T13" fmla="*/ 56 h 70"/>
                <a:gd name="T14" fmla="*/ 84 w 133"/>
                <a:gd name="T15" fmla="*/ 70 h 70"/>
                <a:gd name="T16" fmla="*/ 105 w 133"/>
                <a:gd name="T17" fmla="*/ 49 h 70"/>
                <a:gd name="T18" fmla="*/ 103 w 133"/>
                <a:gd name="T19" fmla="*/ 40 h 70"/>
                <a:gd name="T20" fmla="*/ 133 w 133"/>
                <a:gd name="T21" fmla="*/ 9 h 70"/>
                <a:gd name="T22" fmla="*/ 124 w 133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0">
                  <a:moveTo>
                    <a:pt x="124" y="0"/>
                  </a:moveTo>
                  <a:cubicBezTo>
                    <a:pt x="93" y="30"/>
                    <a:pt x="93" y="30"/>
                    <a:pt x="93" y="30"/>
                  </a:cubicBezTo>
                  <a:cubicBezTo>
                    <a:pt x="91" y="29"/>
                    <a:pt x="88" y="28"/>
                    <a:pt x="84" y="28"/>
                  </a:cubicBezTo>
                  <a:cubicBezTo>
                    <a:pt x="75" y="28"/>
                    <a:pt x="67" y="34"/>
                    <a:pt x="65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64"/>
                    <a:pt x="75" y="70"/>
                    <a:pt x="84" y="70"/>
                  </a:cubicBezTo>
                  <a:cubicBezTo>
                    <a:pt x="96" y="70"/>
                    <a:pt x="105" y="60"/>
                    <a:pt x="105" y="49"/>
                  </a:cubicBezTo>
                  <a:cubicBezTo>
                    <a:pt x="105" y="46"/>
                    <a:pt x="104" y="43"/>
                    <a:pt x="103" y="40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24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grpSp>
          <p:nvGrpSpPr>
            <p:cNvPr id="42" name="Group 126">
              <a:extLst>
                <a:ext uri="{FF2B5EF4-FFF2-40B4-BE49-F238E27FC236}">
                  <a16:creationId xmlns:a16="http://schemas.microsoft.com/office/drawing/2014/main" id="{8A8BC7C3-2FA5-49E4-880F-EA3095E5C0E1}"/>
                </a:ext>
              </a:extLst>
            </p:cNvPr>
            <p:cNvGrpSpPr/>
            <p:nvPr/>
          </p:nvGrpSpPr>
          <p:grpSpPr>
            <a:xfrm>
              <a:off x="8287285" y="3792167"/>
              <a:ext cx="453907" cy="431688"/>
              <a:chOff x="8505825" y="3605213"/>
              <a:chExt cx="454025" cy="431800"/>
            </a:xfrm>
          </p:grpSpPr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id="{CC3AC862-A34B-4057-94B6-6D43E809609B}"/>
                  </a:ext>
                </a:extLst>
              </p:cNvPr>
              <p:cNvSpPr/>
              <p:nvPr/>
            </p:nvSpPr>
            <p:spPr bwMode="auto">
              <a:xfrm>
                <a:off x="8505825" y="3694113"/>
                <a:ext cx="454025" cy="342900"/>
              </a:xfrm>
              <a:custGeom>
                <a:avLst/>
                <a:gdLst>
                  <a:gd name="T0" fmla="*/ 146 w 208"/>
                  <a:gd name="T1" fmla="*/ 0 h 157"/>
                  <a:gd name="T2" fmla="*/ 104 w 208"/>
                  <a:gd name="T3" fmla="*/ 15 h 157"/>
                  <a:gd name="T4" fmla="*/ 62 w 208"/>
                  <a:gd name="T5" fmla="*/ 0 h 157"/>
                  <a:gd name="T6" fmla="*/ 0 w 208"/>
                  <a:gd name="T7" fmla="*/ 60 h 157"/>
                  <a:gd name="T8" fmla="*/ 107 w 208"/>
                  <a:gd name="T9" fmla="*/ 157 h 157"/>
                  <a:gd name="T10" fmla="*/ 208 w 208"/>
                  <a:gd name="T11" fmla="*/ 60 h 157"/>
                  <a:gd name="T12" fmla="*/ 146 w 208"/>
                  <a:gd name="T13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57">
                    <a:moveTo>
                      <a:pt x="146" y="0"/>
                    </a:moveTo>
                    <a:cubicBezTo>
                      <a:pt x="130" y="0"/>
                      <a:pt x="115" y="6"/>
                      <a:pt x="104" y="15"/>
                    </a:cubicBezTo>
                    <a:cubicBezTo>
                      <a:pt x="93" y="6"/>
                      <a:pt x="78" y="0"/>
                      <a:pt x="62" y="0"/>
                    </a:cubicBezTo>
                    <a:cubicBezTo>
                      <a:pt x="28" y="0"/>
                      <a:pt x="0" y="27"/>
                      <a:pt x="0" y="60"/>
                    </a:cubicBezTo>
                    <a:cubicBezTo>
                      <a:pt x="0" y="98"/>
                      <a:pt x="31" y="157"/>
                      <a:pt x="107" y="157"/>
                    </a:cubicBezTo>
                    <a:cubicBezTo>
                      <a:pt x="185" y="157"/>
                      <a:pt x="208" y="95"/>
                      <a:pt x="208" y="60"/>
                    </a:cubicBezTo>
                    <a:cubicBezTo>
                      <a:pt x="208" y="27"/>
                      <a:pt x="180" y="0"/>
                      <a:pt x="146" y="0"/>
                    </a:cubicBezTo>
                    <a:close/>
                  </a:path>
                </a:pathLst>
              </a:custGeom>
              <a:solidFill>
                <a:srgbClr val="C5C5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  <p:sp>
            <p:nvSpPr>
              <p:cNvPr id="91" name="Freeform 51">
                <a:extLst>
                  <a:ext uri="{FF2B5EF4-FFF2-40B4-BE49-F238E27FC236}">
                    <a16:creationId xmlns:a16="http://schemas.microsoft.com/office/drawing/2014/main" id="{85F8709A-BBF8-465D-8FE1-4ED7110D4A02}"/>
                  </a:ext>
                </a:extLst>
              </p:cNvPr>
              <p:cNvSpPr/>
              <p:nvPr/>
            </p:nvSpPr>
            <p:spPr bwMode="auto">
              <a:xfrm>
                <a:off x="8709025" y="3605213"/>
                <a:ext cx="123825" cy="157163"/>
              </a:xfrm>
              <a:custGeom>
                <a:avLst/>
                <a:gdLst>
                  <a:gd name="T0" fmla="*/ 12 w 57"/>
                  <a:gd name="T1" fmla="*/ 72 h 72"/>
                  <a:gd name="T2" fmla="*/ 27 w 57"/>
                  <a:gd name="T3" fmla="*/ 0 h 72"/>
                  <a:gd name="T4" fmla="*/ 57 w 57"/>
                  <a:gd name="T5" fmla="*/ 6 h 72"/>
                  <a:gd name="T6" fmla="*/ 12 w 57"/>
                  <a:gd name="T7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72">
                    <a:moveTo>
                      <a:pt x="12" y="72"/>
                    </a:moveTo>
                    <a:cubicBezTo>
                      <a:pt x="0" y="48"/>
                      <a:pt x="7" y="20"/>
                      <a:pt x="27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29" y="21"/>
                      <a:pt x="12" y="37"/>
                      <a:pt x="12" y="72"/>
                    </a:cubicBezTo>
                    <a:close/>
                  </a:path>
                </a:pathLst>
              </a:custGeom>
              <a:solidFill>
                <a:srgbClr val="C5C5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/>
              <a:lstStyle/>
              <a:p>
                <a:endParaRPr lang="id-ID" sz="1345">
                  <a:latin typeface="Arial"/>
                  <a:ea typeface="微软雅黑"/>
                  <a:sym typeface="Arial"/>
                </a:endParaRPr>
              </a:p>
            </p:txBody>
          </p:sp>
        </p:grpSp>
        <p:sp>
          <p:nvSpPr>
            <p:cNvPr id="43" name="Freeform 52">
              <a:extLst>
                <a:ext uri="{FF2B5EF4-FFF2-40B4-BE49-F238E27FC236}">
                  <a16:creationId xmlns:a16="http://schemas.microsoft.com/office/drawing/2014/main" id="{10661E43-81F6-4A74-8BBF-C807B6DAA63E}"/>
                </a:ext>
              </a:extLst>
            </p:cNvPr>
            <p:cNvSpPr/>
            <p:nvPr/>
          </p:nvSpPr>
          <p:spPr bwMode="auto">
            <a:xfrm>
              <a:off x="6887476" y="1222673"/>
              <a:ext cx="679273" cy="552307"/>
            </a:xfrm>
            <a:custGeom>
              <a:avLst/>
              <a:gdLst>
                <a:gd name="T0" fmla="*/ 312 w 312"/>
                <a:gd name="T1" fmla="*/ 86 h 253"/>
                <a:gd name="T2" fmla="*/ 305 w 312"/>
                <a:gd name="T3" fmla="*/ 75 h 253"/>
                <a:gd name="T4" fmla="*/ 79 w 312"/>
                <a:gd name="T5" fmla="*/ 226 h 253"/>
                <a:gd name="T6" fmla="*/ 28 w 312"/>
                <a:gd name="T7" fmla="*/ 214 h 253"/>
                <a:gd name="T8" fmla="*/ 35 w 312"/>
                <a:gd name="T9" fmla="*/ 162 h 253"/>
                <a:gd name="T10" fmla="*/ 262 w 312"/>
                <a:gd name="T11" fmla="*/ 11 h 253"/>
                <a:gd name="T12" fmla="*/ 254 w 312"/>
                <a:gd name="T13" fmla="*/ 0 h 253"/>
                <a:gd name="T14" fmla="*/ 26 w 312"/>
                <a:gd name="T15" fmla="*/ 153 h 253"/>
                <a:gd name="T16" fmla="*/ 15 w 312"/>
                <a:gd name="T17" fmla="*/ 222 h 253"/>
                <a:gd name="T18" fmla="*/ 83 w 312"/>
                <a:gd name="T19" fmla="*/ 239 h 253"/>
                <a:gd name="T20" fmla="*/ 312 w 312"/>
                <a:gd name="T21" fmla="*/ 8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253">
                  <a:moveTo>
                    <a:pt x="312" y="86"/>
                  </a:moveTo>
                  <a:cubicBezTo>
                    <a:pt x="305" y="75"/>
                    <a:pt x="305" y="75"/>
                    <a:pt x="305" y="75"/>
                  </a:cubicBezTo>
                  <a:cubicBezTo>
                    <a:pt x="79" y="226"/>
                    <a:pt x="79" y="226"/>
                    <a:pt x="79" y="226"/>
                  </a:cubicBezTo>
                  <a:cubicBezTo>
                    <a:pt x="63" y="237"/>
                    <a:pt x="40" y="231"/>
                    <a:pt x="28" y="214"/>
                  </a:cubicBezTo>
                  <a:cubicBezTo>
                    <a:pt x="16" y="196"/>
                    <a:pt x="19" y="173"/>
                    <a:pt x="35" y="16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6" y="153"/>
                    <a:pt x="26" y="153"/>
                    <a:pt x="26" y="153"/>
                  </a:cubicBezTo>
                  <a:cubicBezTo>
                    <a:pt x="4" y="167"/>
                    <a:pt x="0" y="198"/>
                    <a:pt x="15" y="222"/>
                  </a:cubicBezTo>
                  <a:cubicBezTo>
                    <a:pt x="31" y="246"/>
                    <a:pt x="62" y="253"/>
                    <a:pt x="83" y="239"/>
                  </a:cubicBezTo>
                  <a:lnTo>
                    <a:pt x="312" y="86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4" name="Freeform 53">
              <a:extLst>
                <a:ext uri="{FF2B5EF4-FFF2-40B4-BE49-F238E27FC236}">
                  <a16:creationId xmlns:a16="http://schemas.microsoft.com/office/drawing/2014/main" id="{B498DFEB-B505-414E-9C46-15A59D59684A}"/>
                </a:ext>
              </a:extLst>
            </p:cNvPr>
            <p:cNvSpPr/>
            <p:nvPr/>
          </p:nvSpPr>
          <p:spPr bwMode="auto">
            <a:xfrm>
              <a:off x="7403279" y="1192521"/>
              <a:ext cx="187276" cy="257108"/>
            </a:xfrm>
            <a:custGeom>
              <a:avLst/>
              <a:gdLst>
                <a:gd name="T0" fmla="*/ 80 w 86"/>
                <a:gd name="T1" fmla="*/ 115 h 118"/>
                <a:gd name="T2" fmla="*/ 68 w 86"/>
                <a:gd name="T3" fmla="*/ 113 h 118"/>
                <a:gd name="T4" fmla="*/ 3 w 86"/>
                <a:gd name="T5" fmla="*/ 16 h 118"/>
                <a:gd name="T6" fmla="*/ 6 w 86"/>
                <a:gd name="T7" fmla="*/ 3 h 118"/>
                <a:gd name="T8" fmla="*/ 19 w 86"/>
                <a:gd name="T9" fmla="*/ 6 h 118"/>
                <a:gd name="T10" fmla="*/ 83 w 86"/>
                <a:gd name="T11" fmla="*/ 102 h 118"/>
                <a:gd name="T12" fmla="*/ 80 w 86"/>
                <a:gd name="T13" fmla="*/ 1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18">
                  <a:moveTo>
                    <a:pt x="80" y="115"/>
                  </a:moveTo>
                  <a:cubicBezTo>
                    <a:pt x="76" y="118"/>
                    <a:pt x="70" y="117"/>
                    <a:pt x="68" y="11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0" y="12"/>
                    <a:pt x="1" y="6"/>
                    <a:pt x="6" y="3"/>
                  </a:cubicBezTo>
                  <a:cubicBezTo>
                    <a:pt x="10" y="0"/>
                    <a:pt x="16" y="2"/>
                    <a:pt x="19" y="6"/>
                  </a:cubicBezTo>
                  <a:cubicBezTo>
                    <a:pt x="83" y="102"/>
                    <a:pt x="83" y="102"/>
                    <a:pt x="83" y="102"/>
                  </a:cubicBezTo>
                  <a:cubicBezTo>
                    <a:pt x="86" y="107"/>
                    <a:pt x="85" y="112"/>
                    <a:pt x="80" y="115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5" name="Freeform 54">
              <a:extLst>
                <a:ext uri="{FF2B5EF4-FFF2-40B4-BE49-F238E27FC236}">
                  <a16:creationId xmlns:a16="http://schemas.microsoft.com/office/drawing/2014/main" id="{FEB41827-EE2D-4D30-8398-3513BDD68ADE}"/>
                </a:ext>
              </a:extLst>
            </p:cNvPr>
            <p:cNvSpPr/>
            <p:nvPr/>
          </p:nvSpPr>
          <p:spPr bwMode="auto">
            <a:xfrm>
              <a:off x="6976352" y="1368686"/>
              <a:ext cx="514216" cy="336463"/>
            </a:xfrm>
            <a:custGeom>
              <a:avLst/>
              <a:gdLst>
                <a:gd name="T0" fmla="*/ 236 w 236"/>
                <a:gd name="T1" fmla="*/ 13 h 154"/>
                <a:gd name="T2" fmla="*/ 227 w 236"/>
                <a:gd name="T3" fmla="*/ 0 h 154"/>
                <a:gd name="T4" fmla="*/ 25 w 236"/>
                <a:gd name="T5" fmla="*/ 135 h 154"/>
                <a:gd name="T6" fmla="*/ 0 w 236"/>
                <a:gd name="T7" fmla="*/ 136 h 154"/>
                <a:gd name="T8" fmla="*/ 1 w 236"/>
                <a:gd name="T9" fmla="*/ 138 h 154"/>
                <a:gd name="T10" fmla="*/ 36 w 236"/>
                <a:gd name="T11" fmla="*/ 146 h 154"/>
                <a:gd name="T12" fmla="*/ 236 w 236"/>
                <a:gd name="T13" fmla="*/ 1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154">
                  <a:moveTo>
                    <a:pt x="236" y="13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17" y="140"/>
                    <a:pt x="8" y="140"/>
                    <a:pt x="0" y="136"/>
                  </a:cubicBezTo>
                  <a:cubicBezTo>
                    <a:pt x="0" y="137"/>
                    <a:pt x="0" y="137"/>
                    <a:pt x="1" y="138"/>
                  </a:cubicBezTo>
                  <a:cubicBezTo>
                    <a:pt x="9" y="150"/>
                    <a:pt x="25" y="154"/>
                    <a:pt x="36" y="146"/>
                  </a:cubicBezTo>
                  <a:lnTo>
                    <a:pt x="236" y="13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6" name="Freeform 55">
              <a:extLst>
                <a:ext uri="{FF2B5EF4-FFF2-40B4-BE49-F238E27FC236}">
                  <a16:creationId xmlns:a16="http://schemas.microsoft.com/office/drawing/2014/main" id="{6E594D9B-8A17-4ADF-9EED-B56C9E5CF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7362" y="1663885"/>
              <a:ext cx="296785" cy="520564"/>
            </a:xfrm>
            <a:custGeom>
              <a:avLst/>
              <a:gdLst>
                <a:gd name="T0" fmla="*/ 59 w 136"/>
                <a:gd name="T1" fmla="*/ 203 h 239"/>
                <a:gd name="T2" fmla="*/ 54 w 136"/>
                <a:gd name="T3" fmla="*/ 203 h 239"/>
                <a:gd name="T4" fmla="*/ 54 w 136"/>
                <a:gd name="T5" fmla="*/ 239 h 239"/>
                <a:gd name="T6" fmla="*/ 72 w 136"/>
                <a:gd name="T7" fmla="*/ 226 h 239"/>
                <a:gd name="T8" fmla="*/ 59 w 136"/>
                <a:gd name="T9" fmla="*/ 203 h 239"/>
                <a:gd name="T10" fmla="*/ 54 w 136"/>
                <a:gd name="T11" fmla="*/ 187 h 239"/>
                <a:gd name="T12" fmla="*/ 54 w 136"/>
                <a:gd name="T13" fmla="*/ 82 h 239"/>
                <a:gd name="T14" fmla="*/ 81 w 136"/>
                <a:gd name="T15" fmla="*/ 74 h 239"/>
                <a:gd name="T16" fmla="*/ 97 w 136"/>
                <a:gd name="T17" fmla="*/ 13 h 239"/>
                <a:gd name="T18" fmla="*/ 114 w 136"/>
                <a:gd name="T19" fmla="*/ 2 h 239"/>
                <a:gd name="T20" fmla="*/ 124 w 136"/>
                <a:gd name="T21" fmla="*/ 20 h 239"/>
                <a:gd name="T22" fmla="*/ 109 w 136"/>
                <a:gd name="T23" fmla="*/ 81 h 239"/>
                <a:gd name="T24" fmla="*/ 130 w 136"/>
                <a:gd name="T25" fmla="*/ 134 h 239"/>
                <a:gd name="T26" fmla="*/ 122 w 136"/>
                <a:gd name="T27" fmla="*/ 164 h 239"/>
                <a:gd name="T28" fmla="*/ 122 w 136"/>
                <a:gd name="T29" fmla="*/ 164 h 239"/>
                <a:gd name="T30" fmla="*/ 136 w 136"/>
                <a:gd name="T31" fmla="*/ 187 h 239"/>
                <a:gd name="T32" fmla="*/ 131 w 136"/>
                <a:gd name="T33" fmla="*/ 207 h 239"/>
                <a:gd name="T34" fmla="*/ 54 w 136"/>
                <a:gd name="T35" fmla="*/ 187 h 239"/>
                <a:gd name="T36" fmla="*/ 54 w 136"/>
                <a:gd name="T37" fmla="*/ 203 h 239"/>
                <a:gd name="T38" fmla="*/ 36 w 136"/>
                <a:gd name="T39" fmla="*/ 216 h 239"/>
                <a:gd name="T40" fmla="*/ 50 w 136"/>
                <a:gd name="T41" fmla="*/ 239 h 239"/>
                <a:gd name="T42" fmla="*/ 54 w 136"/>
                <a:gd name="T43" fmla="*/ 239 h 239"/>
                <a:gd name="T44" fmla="*/ 54 w 136"/>
                <a:gd name="T45" fmla="*/ 203 h 239"/>
                <a:gd name="T46" fmla="*/ 54 w 136"/>
                <a:gd name="T47" fmla="*/ 82 h 239"/>
                <a:gd name="T48" fmla="*/ 54 w 136"/>
                <a:gd name="T49" fmla="*/ 187 h 239"/>
                <a:gd name="T50" fmla="*/ 0 w 136"/>
                <a:gd name="T51" fmla="*/ 173 h 239"/>
                <a:gd name="T52" fmla="*/ 5 w 136"/>
                <a:gd name="T53" fmla="*/ 152 h 239"/>
                <a:gd name="T54" fmla="*/ 29 w 136"/>
                <a:gd name="T55" fmla="*/ 140 h 239"/>
                <a:gd name="T56" fmla="*/ 37 w 136"/>
                <a:gd name="T57" fmla="*/ 109 h 239"/>
                <a:gd name="T58" fmla="*/ 54 w 136"/>
                <a:gd name="T59" fmla="*/ 8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6" h="239">
                  <a:moveTo>
                    <a:pt x="59" y="203"/>
                  </a:moveTo>
                  <a:cubicBezTo>
                    <a:pt x="57" y="203"/>
                    <a:pt x="56" y="203"/>
                    <a:pt x="54" y="203"/>
                  </a:cubicBezTo>
                  <a:cubicBezTo>
                    <a:pt x="54" y="239"/>
                    <a:pt x="54" y="239"/>
                    <a:pt x="54" y="239"/>
                  </a:cubicBezTo>
                  <a:cubicBezTo>
                    <a:pt x="62" y="239"/>
                    <a:pt x="70" y="234"/>
                    <a:pt x="72" y="226"/>
                  </a:cubicBezTo>
                  <a:cubicBezTo>
                    <a:pt x="74" y="216"/>
                    <a:pt x="69" y="206"/>
                    <a:pt x="59" y="203"/>
                  </a:cubicBezTo>
                  <a:close/>
                  <a:moveTo>
                    <a:pt x="54" y="187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62" y="76"/>
                    <a:pt x="71" y="74"/>
                    <a:pt x="81" y="74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9" y="5"/>
                    <a:pt x="107" y="0"/>
                    <a:pt x="114" y="2"/>
                  </a:cubicBezTo>
                  <a:cubicBezTo>
                    <a:pt x="122" y="4"/>
                    <a:pt x="126" y="12"/>
                    <a:pt x="124" y="20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25" y="90"/>
                    <a:pt x="136" y="109"/>
                    <a:pt x="130" y="134"/>
                  </a:cubicBezTo>
                  <a:cubicBezTo>
                    <a:pt x="130" y="134"/>
                    <a:pt x="125" y="154"/>
                    <a:pt x="122" y="164"/>
                  </a:cubicBezTo>
                  <a:cubicBezTo>
                    <a:pt x="122" y="164"/>
                    <a:pt x="122" y="164"/>
                    <a:pt x="122" y="164"/>
                  </a:cubicBezTo>
                  <a:cubicBezTo>
                    <a:pt x="118" y="178"/>
                    <a:pt x="136" y="187"/>
                    <a:pt x="136" y="187"/>
                  </a:cubicBezTo>
                  <a:cubicBezTo>
                    <a:pt x="131" y="207"/>
                    <a:pt x="131" y="207"/>
                    <a:pt x="131" y="207"/>
                  </a:cubicBezTo>
                  <a:lnTo>
                    <a:pt x="54" y="187"/>
                  </a:lnTo>
                  <a:close/>
                  <a:moveTo>
                    <a:pt x="54" y="203"/>
                  </a:moveTo>
                  <a:cubicBezTo>
                    <a:pt x="46" y="203"/>
                    <a:pt x="38" y="208"/>
                    <a:pt x="36" y="216"/>
                  </a:cubicBezTo>
                  <a:cubicBezTo>
                    <a:pt x="34" y="226"/>
                    <a:pt x="40" y="236"/>
                    <a:pt x="50" y="239"/>
                  </a:cubicBezTo>
                  <a:cubicBezTo>
                    <a:pt x="51" y="239"/>
                    <a:pt x="53" y="239"/>
                    <a:pt x="54" y="239"/>
                  </a:cubicBezTo>
                  <a:cubicBezTo>
                    <a:pt x="54" y="203"/>
                    <a:pt x="54" y="203"/>
                    <a:pt x="54" y="203"/>
                  </a:cubicBezTo>
                  <a:close/>
                  <a:moveTo>
                    <a:pt x="54" y="82"/>
                  </a:moveTo>
                  <a:cubicBezTo>
                    <a:pt x="54" y="187"/>
                    <a:pt x="54" y="187"/>
                    <a:pt x="54" y="187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5" y="152"/>
                    <a:pt x="5" y="152"/>
                    <a:pt x="5" y="152"/>
                  </a:cubicBezTo>
                  <a:cubicBezTo>
                    <a:pt x="5" y="152"/>
                    <a:pt x="25" y="154"/>
                    <a:pt x="29" y="140"/>
                  </a:cubicBezTo>
                  <a:cubicBezTo>
                    <a:pt x="32" y="128"/>
                    <a:pt x="37" y="109"/>
                    <a:pt x="37" y="109"/>
                  </a:cubicBezTo>
                  <a:cubicBezTo>
                    <a:pt x="40" y="97"/>
                    <a:pt x="46" y="88"/>
                    <a:pt x="54" y="82"/>
                  </a:cubicBez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7" name="Freeform 56">
              <a:extLst>
                <a:ext uri="{FF2B5EF4-FFF2-40B4-BE49-F238E27FC236}">
                  <a16:creationId xmlns:a16="http://schemas.microsoft.com/office/drawing/2014/main" id="{9F4C8681-F9E9-4D92-A112-1E108063B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7556" y="2754213"/>
              <a:ext cx="555480" cy="604680"/>
            </a:xfrm>
            <a:custGeom>
              <a:avLst/>
              <a:gdLst>
                <a:gd name="T0" fmla="*/ 198 w 255"/>
                <a:gd name="T1" fmla="*/ 128 h 277"/>
                <a:gd name="T2" fmla="*/ 191 w 255"/>
                <a:gd name="T3" fmla="*/ 158 h 277"/>
                <a:gd name="T4" fmla="*/ 191 w 255"/>
                <a:gd name="T5" fmla="*/ 185 h 277"/>
                <a:gd name="T6" fmla="*/ 196 w 255"/>
                <a:gd name="T7" fmla="*/ 187 h 277"/>
                <a:gd name="T8" fmla="*/ 218 w 255"/>
                <a:gd name="T9" fmla="*/ 218 h 277"/>
                <a:gd name="T10" fmla="*/ 191 w 255"/>
                <a:gd name="T11" fmla="*/ 201 h 277"/>
                <a:gd name="T12" fmla="*/ 191 w 255"/>
                <a:gd name="T13" fmla="*/ 55 h 277"/>
                <a:gd name="T14" fmla="*/ 218 w 255"/>
                <a:gd name="T15" fmla="*/ 38 h 277"/>
                <a:gd name="T16" fmla="*/ 196 w 255"/>
                <a:gd name="T17" fmla="*/ 69 h 277"/>
                <a:gd name="T18" fmla="*/ 191 w 255"/>
                <a:gd name="T19" fmla="*/ 71 h 277"/>
                <a:gd name="T20" fmla="*/ 249 w 255"/>
                <a:gd name="T21" fmla="*/ 121 h 277"/>
                <a:gd name="T22" fmla="*/ 211 w 255"/>
                <a:gd name="T23" fmla="*/ 128 h 277"/>
                <a:gd name="T24" fmla="*/ 249 w 255"/>
                <a:gd name="T25" fmla="*/ 134 h 277"/>
                <a:gd name="T26" fmla="*/ 249 w 255"/>
                <a:gd name="T27" fmla="*/ 121 h 277"/>
                <a:gd name="T28" fmla="*/ 132 w 255"/>
                <a:gd name="T29" fmla="*/ 277 h 277"/>
                <a:gd name="T30" fmla="*/ 167 w 255"/>
                <a:gd name="T31" fmla="*/ 186 h 277"/>
                <a:gd name="T32" fmla="*/ 191 w 255"/>
                <a:gd name="T33" fmla="*/ 98 h 277"/>
                <a:gd name="T34" fmla="*/ 127 w 255"/>
                <a:gd name="T35" fmla="*/ 72 h 277"/>
                <a:gd name="T36" fmla="*/ 183 w 255"/>
                <a:gd name="T37" fmla="*/ 128 h 277"/>
                <a:gd name="T38" fmla="*/ 156 w 255"/>
                <a:gd name="T39" fmla="*/ 176 h 277"/>
                <a:gd name="T40" fmla="*/ 153 w 255"/>
                <a:gd name="T41" fmla="*/ 214 h 277"/>
                <a:gd name="T42" fmla="*/ 127 w 255"/>
                <a:gd name="T43" fmla="*/ 277 h 277"/>
                <a:gd name="T44" fmla="*/ 191 w 255"/>
                <a:gd name="T45" fmla="*/ 71 h 277"/>
                <a:gd name="T46" fmla="*/ 186 w 255"/>
                <a:gd name="T47" fmla="*/ 60 h 277"/>
                <a:gd name="T48" fmla="*/ 191 w 255"/>
                <a:gd name="T49" fmla="*/ 185 h 277"/>
                <a:gd name="T50" fmla="*/ 186 w 255"/>
                <a:gd name="T51" fmla="*/ 196 h 277"/>
                <a:gd name="T52" fmla="*/ 191 w 255"/>
                <a:gd name="T53" fmla="*/ 185 h 277"/>
                <a:gd name="T54" fmla="*/ 127 w 255"/>
                <a:gd name="T55" fmla="*/ 0 h 277"/>
                <a:gd name="T56" fmla="*/ 134 w 255"/>
                <a:gd name="T57" fmla="*/ 7 h 277"/>
                <a:gd name="T58" fmla="*/ 128 w 255"/>
                <a:gd name="T59" fmla="*/ 45 h 277"/>
                <a:gd name="T60" fmla="*/ 127 w 255"/>
                <a:gd name="T61" fmla="*/ 45 h 277"/>
                <a:gd name="T62" fmla="*/ 64 w 255"/>
                <a:gd name="T63" fmla="*/ 97 h 277"/>
                <a:gd name="T64" fmla="*/ 89 w 255"/>
                <a:gd name="T65" fmla="*/ 187 h 277"/>
                <a:gd name="T66" fmla="*/ 124 w 255"/>
                <a:gd name="T67" fmla="*/ 277 h 277"/>
                <a:gd name="T68" fmla="*/ 127 w 255"/>
                <a:gd name="T69" fmla="*/ 214 h 277"/>
                <a:gd name="T70" fmla="*/ 103 w 255"/>
                <a:gd name="T71" fmla="*/ 183 h 277"/>
                <a:gd name="T72" fmla="*/ 71 w 255"/>
                <a:gd name="T73" fmla="*/ 128 h 277"/>
                <a:gd name="T74" fmla="*/ 127 w 255"/>
                <a:gd name="T75" fmla="*/ 72 h 277"/>
                <a:gd name="T76" fmla="*/ 127 w 255"/>
                <a:gd name="T77" fmla="*/ 57 h 277"/>
                <a:gd name="T78" fmla="*/ 127 w 255"/>
                <a:gd name="T79" fmla="*/ 0 h 277"/>
                <a:gd name="T80" fmla="*/ 121 w 255"/>
                <a:gd name="T81" fmla="*/ 38 h 277"/>
                <a:gd name="T82" fmla="*/ 127 w 255"/>
                <a:gd name="T83" fmla="*/ 0 h 277"/>
                <a:gd name="T84" fmla="*/ 64 w 255"/>
                <a:gd name="T85" fmla="*/ 185 h 277"/>
                <a:gd name="T86" fmla="*/ 69 w 255"/>
                <a:gd name="T87" fmla="*/ 196 h 277"/>
                <a:gd name="T88" fmla="*/ 64 w 255"/>
                <a:gd name="T89" fmla="*/ 71 h 277"/>
                <a:gd name="T90" fmla="*/ 69 w 255"/>
                <a:gd name="T91" fmla="*/ 60 h 277"/>
                <a:gd name="T92" fmla="*/ 64 w 255"/>
                <a:gd name="T93" fmla="*/ 71 h 277"/>
                <a:gd name="T94" fmla="*/ 57 w 255"/>
                <a:gd name="T95" fmla="*/ 128 h 277"/>
                <a:gd name="T96" fmla="*/ 64 w 255"/>
                <a:gd name="T97" fmla="*/ 97 h 277"/>
                <a:gd name="T98" fmla="*/ 64 w 255"/>
                <a:gd name="T99" fmla="*/ 71 h 277"/>
                <a:gd name="T100" fmla="*/ 60 w 255"/>
                <a:gd name="T101" fmla="*/ 69 h 277"/>
                <a:gd name="T102" fmla="*/ 38 w 255"/>
                <a:gd name="T103" fmla="*/ 38 h 277"/>
                <a:gd name="T104" fmla="*/ 64 w 255"/>
                <a:gd name="T105" fmla="*/ 55 h 277"/>
                <a:gd name="T106" fmla="*/ 64 w 255"/>
                <a:gd name="T107" fmla="*/ 201 h 277"/>
                <a:gd name="T108" fmla="*/ 38 w 255"/>
                <a:gd name="T109" fmla="*/ 218 h 277"/>
                <a:gd name="T110" fmla="*/ 60 w 255"/>
                <a:gd name="T111" fmla="*/ 187 h 277"/>
                <a:gd name="T112" fmla="*/ 64 w 255"/>
                <a:gd name="T113" fmla="*/ 185 h 277"/>
                <a:gd name="T114" fmla="*/ 45 w 255"/>
                <a:gd name="T115" fmla="*/ 128 h 277"/>
                <a:gd name="T116" fmla="*/ 7 w 255"/>
                <a:gd name="T117" fmla="*/ 121 h 277"/>
                <a:gd name="T118" fmla="*/ 7 w 255"/>
                <a:gd name="T119" fmla="*/ 134 h 277"/>
                <a:gd name="T120" fmla="*/ 45 w 255"/>
                <a:gd name="T121" fmla="*/ 12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5" h="277">
                  <a:moveTo>
                    <a:pt x="191" y="158"/>
                  </a:moveTo>
                  <a:cubicBezTo>
                    <a:pt x="195" y="149"/>
                    <a:pt x="198" y="139"/>
                    <a:pt x="198" y="128"/>
                  </a:cubicBezTo>
                  <a:cubicBezTo>
                    <a:pt x="198" y="117"/>
                    <a:pt x="195" y="107"/>
                    <a:pt x="191" y="98"/>
                  </a:cubicBezTo>
                  <a:cubicBezTo>
                    <a:pt x="191" y="158"/>
                    <a:pt x="191" y="158"/>
                    <a:pt x="191" y="158"/>
                  </a:cubicBezTo>
                  <a:close/>
                  <a:moveTo>
                    <a:pt x="191" y="201"/>
                  </a:moveTo>
                  <a:cubicBezTo>
                    <a:pt x="191" y="185"/>
                    <a:pt x="191" y="185"/>
                    <a:pt x="191" y="185"/>
                  </a:cubicBezTo>
                  <a:cubicBezTo>
                    <a:pt x="193" y="185"/>
                    <a:pt x="194" y="185"/>
                    <a:pt x="196" y="187"/>
                  </a:cubicBezTo>
                  <a:cubicBezTo>
                    <a:pt x="196" y="187"/>
                    <a:pt x="196" y="187"/>
                    <a:pt x="196" y="187"/>
                  </a:cubicBezTo>
                  <a:cubicBezTo>
                    <a:pt x="218" y="209"/>
                    <a:pt x="218" y="209"/>
                    <a:pt x="218" y="209"/>
                  </a:cubicBezTo>
                  <a:cubicBezTo>
                    <a:pt x="220" y="211"/>
                    <a:pt x="220" y="216"/>
                    <a:pt x="218" y="218"/>
                  </a:cubicBezTo>
                  <a:cubicBezTo>
                    <a:pt x="215" y="221"/>
                    <a:pt x="211" y="221"/>
                    <a:pt x="209" y="218"/>
                  </a:cubicBezTo>
                  <a:cubicBezTo>
                    <a:pt x="191" y="201"/>
                    <a:pt x="191" y="201"/>
                    <a:pt x="191" y="201"/>
                  </a:cubicBezTo>
                  <a:close/>
                  <a:moveTo>
                    <a:pt x="191" y="71"/>
                  </a:moveTo>
                  <a:cubicBezTo>
                    <a:pt x="191" y="55"/>
                    <a:pt x="191" y="55"/>
                    <a:pt x="191" y="55"/>
                  </a:cubicBezTo>
                  <a:cubicBezTo>
                    <a:pt x="209" y="38"/>
                    <a:pt x="209" y="38"/>
                    <a:pt x="209" y="38"/>
                  </a:cubicBezTo>
                  <a:cubicBezTo>
                    <a:pt x="211" y="35"/>
                    <a:pt x="215" y="35"/>
                    <a:pt x="218" y="38"/>
                  </a:cubicBezTo>
                  <a:cubicBezTo>
                    <a:pt x="220" y="40"/>
                    <a:pt x="220" y="44"/>
                    <a:pt x="218" y="47"/>
                  </a:cubicBezTo>
                  <a:cubicBezTo>
                    <a:pt x="196" y="69"/>
                    <a:pt x="196" y="69"/>
                    <a:pt x="196" y="69"/>
                  </a:cubicBezTo>
                  <a:cubicBezTo>
                    <a:pt x="196" y="69"/>
                    <a:pt x="196" y="69"/>
                    <a:pt x="196" y="69"/>
                  </a:cubicBezTo>
                  <a:cubicBezTo>
                    <a:pt x="194" y="71"/>
                    <a:pt x="193" y="71"/>
                    <a:pt x="191" y="71"/>
                  </a:cubicBezTo>
                  <a:close/>
                  <a:moveTo>
                    <a:pt x="249" y="121"/>
                  </a:moveTo>
                  <a:cubicBezTo>
                    <a:pt x="249" y="121"/>
                    <a:pt x="249" y="121"/>
                    <a:pt x="249" y="121"/>
                  </a:cubicBezTo>
                  <a:cubicBezTo>
                    <a:pt x="217" y="121"/>
                    <a:pt x="217" y="121"/>
                    <a:pt x="217" y="121"/>
                  </a:cubicBezTo>
                  <a:cubicBezTo>
                    <a:pt x="214" y="121"/>
                    <a:pt x="211" y="124"/>
                    <a:pt x="211" y="128"/>
                  </a:cubicBezTo>
                  <a:cubicBezTo>
                    <a:pt x="211" y="132"/>
                    <a:pt x="214" y="134"/>
                    <a:pt x="217" y="134"/>
                  </a:cubicBezTo>
                  <a:cubicBezTo>
                    <a:pt x="249" y="134"/>
                    <a:pt x="249" y="134"/>
                    <a:pt x="249" y="134"/>
                  </a:cubicBezTo>
                  <a:cubicBezTo>
                    <a:pt x="252" y="134"/>
                    <a:pt x="255" y="132"/>
                    <a:pt x="255" y="128"/>
                  </a:cubicBezTo>
                  <a:cubicBezTo>
                    <a:pt x="255" y="124"/>
                    <a:pt x="252" y="121"/>
                    <a:pt x="249" y="121"/>
                  </a:cubicBezTo>
                  <a:close/>
                  <a:moveTo>
                    <a:pt x="127" y="277"/>
                  </a:moveTo>
                  <a:cubicBezTo>
                    <a:pt x="132" y="277"/>
                    <a:pt x="132" y="277"/>
                    <a:pt x="132" y="277"/>
                  </a:cubicBezTo>
                  <a:cubicBezTo>
                    <a:pt x="151" y="277"/>
                    <a:pt x="167" y="262"/>
                    <a:pt x="167" y="242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77" y="179"/>
                    <a:pt x="186" y="169"/>
                    <a:pt x="191" y="158"/>
                  </a:cubicBezTo>
                  <a:cubicBezTo>
                    <a:pt x="191" y="98"/>
                    <a:pt x="191" y="98"/>
                    <a:pt x="191" y="98"/>
                  </a:cubicBezTo>
                  <a:cubicBezTo>
                    <a:pt x="180" y="74"/>
                    <a:pt x="156" y="57"/>
                    <a:pt x="127" y="57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43" y="72"/>
                    <a:pt x="157" y="78"/>
                    <a:pt x="167" y="88"/>
                  </a:cubicBezTo>
                  <a:cubicBezTo>
                    <a:pt x="177" y="98"/>
                    <a:pt x="183" y="112"/>
                    <a:pt x="183" y="128"/>
                  </a:cubicBezTo>
                  <a:cubicBezTo>
                    <a:pt x="183" y="148"/>
                    <a:pt x="172" y="166"/>
                    <a:pt x="156" y="176"/>
                  </a:cubicBezTo>
                  <a:cubicBezTo>
                    <a:pt x="156" y="176"/>
                    <a:pt x="156" y="176"/>
                    <a:pt x="156" y="176"/>
                  </a:cubicBezTo>
                  <a:cubicBezTo>
                    <a:pt x="154" y="177"/>
                    <a:pt x="153" y="180"/>
                    <a:pt x="153" y="182"/>
                  </a:cubicBezTo>
                  <a:cubicBezTo>
                    <a:pt x="153" y="214"/>
                    <a:pt x="153" y="214"/>
                    <a:pt x="153" y="214"/>
                  </a:cubicBezTo>
                  <a:cubicBezTo>
                    <a:pt x="127" y="214"/>
                    <a:pt x="127" y="214"/>
                    <a:pt x="127" y="214"/>
                  </a:cubicBezTo>
                  <a:cubicBezTo>
                    <a:pt x="127" y="277"/>
                    <a:pt x="127" y="277"/>
                    <a:pt x="127" y="277"/>
                  </a:cubicBezTo>
                  <a:close/>
                  <a:moveTo>
                    <a:pt x="191" y="55"/>
                  </a:moveTo>
                  <a:cubicBezTo>
                    <a:pt x="191" y="71"/>
                    <a:pt x="191" y="71"/>
                    <a:pt x="191" y="71"/>
                  </a:cubicBezTo>
                  <a:cubicBezTo>
                    <a:pt x="189" y="71"/>
                    <a:pt x="188" y="71"/>
                    <a:pt x="186" y="69"/>
                  </a:cubicBezTo>
                  <a:cubicBezTo>
                    <a:pt x="184" y="67"/>
                    <a:pt x="184" y="63"/>
                    <a:pt x="186" y="60"/>
                  </a:cubicBezTo>
                  <a:cubicBezTo>
                    <a:pt x="191" y="55"/>
                    <a:pt x="191" y="55"/>
                    <a:pt x="191" y="55"/>
                  </a:cubicBezTo>
                  <a:close/>
                  <a:moveTo>
                    <a:pt x="191" y="185"/>
                  </a:moveTo>
                  <a:cubicBezTo>
                    <a:pt x="191" y="201"/>
                    <a:pt x="191" y="201"/>
                    <a:pt x="191" y="201"/>
                  </a:cubicBezTo>
                  <a:cubicBezTo>
                    <a:pt x="186" y="196"/>
                    <a:pt x="186" y="196"/>
                    <a:pt x="186" y="196"/>
                  </a:cubicBezTo>
                  <a:cubicBezTo>
                    <a:pt x="184" y="193"/>
                    <a:pt x="184" y="189"/>
                    <a:pt x="186" y="187"/>
                  </a:cubicBezTo>
                  <a:cubicBezTo>
                    <a:pt x="188" y="185"/>
                    <a:pt x="189" y="185"/>
                    <a:pt x="191" y="185"/>
                  </a:cubicBezTo>
                  <a:close/>
                  <a:moveTo>
                    <a:pt x="127" y="45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8" y="0"/>
                    <a:pt x="128" y="0"/>
                  </a:cubicBezTo>
                  <a:cubicBezTo>
                    <a:pt x="131" y="0"/>
                    <a:pt x="134" y="3"/>
                    <a:pt x="134" y="7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42"/>
                    <a:pt x="131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7" y="45"/>
                    <a:pt x="127" y="45"/>
                  </a:cubicBezTo>
                  <a:close/>
                  <a:moveTo>
                    <a:pt x="127" y="57"/>
                  </a:moveTo>
                  <a:cubicBezTo>
                    <a:pt x="99" y="57"/>
                    <a:pt x="75" y="74"/>
                    <a:pt x="64" y="97"/>
                  </a:cubicBezTo>
                  <a:cubicBezTo>
                    <a:pt x="64" y="159"/>
                    <a:pt x="64" y="159"/>
                    <a:pt x="64" y="159"/>
                  </a:cubicBezTo>
                  <a:cubicBezTo>
                    <a:pt x="70" y="170"/>
                    <a:pt x="78" y="180"/>
                    <a:pt x="89" y="187"/>
                  </a:cubicBezTo>
                  <a:cubicBezTo>
                    <a:pt x="89" y="242"/>
                    <a:pt x="89" y="242"/>
                    <a:pt x="89" y="242"/>
                  </a:cubicBezTo>
                  <a:cubicBezTo>
                    <a:pt x="89" y="262"/>
                    <a:pt x="104" y="277"/>
                    <a:pt x="124" y="277"/>
                  </a:cubicBezTo>
                  <a:cubicBezTo>
                    <a:pt x="127" y="277"/>
                    <a:pt x="127" y="277"/>
                    <a:pt x="127" y="277"/>
                  </a:cubicBezTo>
                  <a:cubicBezTo>
                    <a:pt x="127" y="214"/>
                    <a:pt x="127" y="214"/>
                    <a:pt x="127" y="214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183"/>
                    <a:pt x="103" y="183"/>
                    <a:pt x="103" y="183"/>
                  </a:cubicBezTo>
                  <a:cubicBezTo>
                    <a:pt x="103" y="180"/>
                    <a:pt x="102" y="178"/>
                    <a:pt x="100" y="176"/>
                  </a:cubicBezTo>
                  <a:cubicBezTo>
                    <a:pt x="83" y="167"/>
                    <a:pt x="71" y="149"/>
                    <a:pt x="71" y="128"/>
                  </a:cubicBezTo>
                  <a:cubicBezTo>
                    <a:pt x="71" y="112"/>
                    <a:pt x="78" y="98"/>
                    <a:pt x="88" y="88"/>
                  </a:cubicBezTo>
                  <a:cubicBezTo>
                    <a:pt x="98" y="78"/>
                    <a:pt x="112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7" y="57"/>
                    <a:pt x="127" y="57"/>
                    <a:pt x="127" y="57"/>
                  </a:cubicBezTo>
                  <a:close/>
                  <a:moveTo>
                    <a:pt x="127" y="0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4" y="45"/>
                    <a:pt x="121" y="42"/>
                    <a:pt x="121" y="38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21" y="4"/>
                    <a:pt x="124" y="1"/>
                    <a:pt x="127" y="0"/>
                  </a:cubicBezTo>
                  <a:close/>
                  <a:moveTo>
                    <a:pt x="64" y="201"/>
                  </a:moveTo>
                  <a:cubicBezTo>
                    <a:pt x="64" y="185"/>
                    <a:pt x="64" y="185"/>
                    <a:pt x="64" y="185"/>
                  </a:cubicBezTo>
                  <a:cubicBezTo>
                    <a:pt x="66" y="185"/>
                    <a:pt x="68" y="185"/>
                    <a:pt x="69" y="187"/>
                  </a:cubicBezTo>
                  <a:cubicBezTo>
                    <a:pt x="72" y="189"/>
                    <a:pt x="72" y="193"/>
                    <a:pt x="69" y="196"/>
                  </a:cubicBezTo>
                  <a:cubicBezTo>
                    <a:pt x="64" y="201"/>
                    <a:pt x="64" y="201"/>
                    <a:pt x="64" y="201"/>
                  </a:cubicBezTo>
                  <a:close/>
                  <a:moveTo>
                    <a:pt x="64" y="71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72" y="63"/>
                    <a:pt x="72" y="67"/>
                    <a:pt x="69" y="69"/>
                  </a:cubicBezTo>
                  <a:cubicBezTo>
                    <a:pt x="68" y="71"/>
                    <a:pt x="66" y="71"/>
                    <a:pt x="64" y="71"/>
                  </a:cubicBezTo>
                  <a:close/>
                  <a:moveTo>
                    <a:pt x="64" y="97"/>
                  </a:moveTo>
                  <a:cubicBezTo>
                    <a:pt x="59" y="106"/>
                    <a:pt x="57" y="117"/>
                    <a:pt x="57" y="128"/>
                  </a:cubicBezTo>
                  <a:cubicBezTo>
                    <a:pt x="57" y="139"/>
                    <a:pt x="59" y="149"/>
                    <a:pt x="64" y="159"/>
                  </a:cubicBezTo>
                  <a:cubicBezTo>
                    <a:pt x="64" y="97"/>
                    <a:pt x="64" y="97"/>
                    <a:pt x="64" y="97"/>
                  </a:cubicBezTo>
                  <a:close/>
                  <a:moveTo>
                    <a:pt x="64" y="55"/>
                  </a:moveTo>
                  <a:cubicBezTo>
                    <a:pt x="64" y="71"/>
                    <a:pt x="64" y="71"/>
                    <a:pt x="64" y="71"/>
                  </a:cubicBezTo>
                  <a:cubicBezTo>
                    <a:pt x="62" y="71"/>
                    <a:pt x="61" y="70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5" y="44"/>
                    <a:pt x="35" y="40"/>
                    <a:pt x="38" y="38"/>
                  </a:cubicBezTo>
                  <a:cubicBezTo>
                    <a:pt x="40" y="35"/>
                    <a:pt x="44" y="35"/>
                    <a:pt x="47" y="38"/>
                  </a:cubicBezTo>
                  <a:cubicBezTo>
                    <a:pt x="64" y="55"/>
                    <a:pt x="64" y="55"/>
                    <a:pt x="64" y="55"/>
                  </a:cubicBezTo>
                  <a:close/>
                  <a:moveTo>
                    <a:pt x="64" y="185"/>
                  </a:moveTo>
                  <a:cubicBezTo>
                    <a:pt x="64" y="201"/>
                    <a:pt x="64" y="201"/>
                    <a:pt x="64" y="201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44" y="221"/>
                    <a:pt x="40" y="221"/>
                    <a:pt x="38" y="218"/>
                  </a:cubicBezTo>
                  <a:cubicBezTo>
                    <a:pt x="35" y="216"/>
                    <a:pt x="35" y="211"/>
                    <a:pt x="38" y="209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1" y="185"/>
                    <a:pt x="62" y="185"/>
                    <a:pt x="64" y="185"/>
                  </a:cubicBezTo>
                  <a:close/>
                  <a:moveTo>
                    <a:pt x="45" y="128"/>
                  </a:moveTo>
                  <a:cubicBezTo>
                    <a:pt x="45" y="128"/>
                    <a:pt x="45" y="128"/>
                    <a:pt x="45" y="128"/>
                  </a:cubicBezTo>
                  <a:cubicBezTo>
                    <a:pt x="45" y="124"/>
                    <a:pt x="42" y="121"/>
                    <a:pt x="38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3" y="121"/>
                    <a:pt x="0" y="124"/>
                    <a:pt x="0" y="128"/>
                  </a:cubicBezTo>
                  <a:cubicBezTo>
                    <a:pt x="0" y="132"/>
                    <a:pt x="3" y="134"/>
                    <a:pt x="7" y="134"/>
                  </a:cubicBezTo>
                  <a:cubicBezTo>
                    <a:pt x="38" y="134"/>
                    <a:pt x="38" y="134"/>
                    <a:pt x="38" y="134"/>
                  </a:cubicBezTo>
                  <a:cubicBezTo>
                    <a:pt x="42" y="134"/>
                    <a:pt x="45" y="132"/>
                    <a:pt x="45" y="128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8" name="Freeform 57">
              <a:extLst>
                <a:ext uri="{FF2B5EF4-FFF2-40B4-BE49-F238E27FC236}">
                  <a16:creationId xmlns:a16="http://schemas.microsoft.com/office/drawing/2014/main" id="{0B3FB262-DB3E-4AA6-BC29-732A1F775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6486" y="1190933"/>
              <a:ext cx="528500" cy="518977"/>
            </a:xfrm>
            <a:custGeom>
              <a:avLst/>
              <a:gdLst>
                <a:gd name="T0" fmla="*/ 231 w 243"/>
                <a:gd name="T1" fmla="*/ 92 h 238"/>
                <a:gd name="T2" fmla="*/ 214 w 243"/>
                <a:gd name="T3" fmla="*/ 83 h 238"/>
                <a:gd name="T4" fmla="*/ 206 w 243"/>
                <a:gd name="T5" fmla="*/ 71 h 238"/>
                <a:gd name="T6" fmla="*/ 192 w 243"/>
                <a:gd name="T7" fmla="*/ 82 h 238"/>
                <a:gd name="T8" fmla="*/ 194 w 243"/>
                <a:gd name="T9" fmla="*/ 64 h 238"/>
                <a:gd name="T10" fmla="*/ 179 w 243"/>
                <a:gd name="T11" fmla="*/ 64 h 238"/>
                <a:gd name="T12" fmla="*/ 162 w 243"/>
                <a:gd name="T13" fmla="*/ 54 h 238"/>
                <a:gd name="T14" fmla="*/ 154 w 243"/>
                <a:gd name="T15" fmla="*/ 42 h 238"/>
                <a:gd name="T16" fmla="*/ 140 w 243"/>
                <a:gd name="T17" fmla="*/ 53 h 238"/>
                <a:gd name="T18" fmla="*/ 142 w 243"/>
                <a:gd name="T19" fmla="*/ 35 h 238"/>
                <a:gd name="T20" fmla="*/ 128 w 243"/>
                <a:gd name="T21" fmla="*/ 35 h 238"/>
                <a:gd name="T22" fmla="*/ 110 w 243"/>
                <a:gd name="T23" fmla="*/ 25 h 238"/>
                <a:gd name="T24" fmla="*/ 102 w 243"/>
                <a:gd name="T25" fmla="*/ 13 h 238"/>
                <a:gd name="T26" fmla="*/ 101 w 243"/>
                <a:gd name="T27" fmla="*/ 22 h 238"/>
                <a:gd name="T28" fmla="*/ 208 w 243"/>
                <a:gd name="T29" fmla="*/ 128 h 238"/>
                <a:gd name="T30" fmla="*/ 206 w 243"/>
                <a:gd name="T31" fmla="*/ 132 h 238"/>
                <a:gd name="T32" fmla="*/ 101 w 243"/>
                <a:gd name="T33" fmla="*/ 74 h 238"/>
                <a:gd name="T34" fmla="*/ 196 w 243"/>
                <a:gd name="T35" fmla="*/ 149 h 238"/>
                <a:gd name="T36" fmla="*/ 194 w 243"/>
                <a:gd name="T37" fmla="*/ 153 h 238"/>
                <a:gd name="T38" fmla="*/ 101 w 243"/>
                <a:gd name="T39" fmla="*/ 101 h 238"/>
                <a:gd name="T40" fmla="*/ 185 w 243"/>
                <a:gd name="T41" fmla="*/ 170 h 238"/>
                <a:gd name="T42" fmla="*/ 182 w 243"/>
                <a:gd name="T43" fmla="*/ 174 h 238"/>
                <a:gd name="T44" fmla="*/ 101 w 243"/>
                <a:gd name="T45" fmla="*/ 129 h 238"/>
                <a:gd name="T46" fmla="*/ 173 w 243"/>
                <a:gd name="T47" fmla="*/ 191 h 238"/>
                <a:gd name="T48" fmla="*/ 171 w 243"/>
                <a:gd name="T49" fmla="*/ 195 h 238"/>
                <a:gd name="T50" fmla="*/ 101 w 243"/>
                <a:gd name="T51" fmla="*/ 156 h 238"/>
                <a:gd name="T52" fmla="*/ 138 w 243"/>
                <a:gd name="T53" fmla="*/ 231 h 238"/>
                <a:gd name="T54" fmla="*/ 243 w 243"/>
                <a:gd name="T55" fmla="*/ 91 h 238"/>
                <a:gd name="T56" fmla="*/ 101 w 243"/>
                <a:gd name="T57" fmla="*/ 22 h 238"/>
                <a:gd name="T58" fmla="*/ 85 w 243"/>
                <a:gd name="T59" fmla="*/ 11 h 238"/>
                <a:gd name="T60" fmla="*/ 78 w 243"/>
                <a:gd name="T61" fmla="*/ 0 h 238"/>
                <a:gd name="T62" fmla="*/ 15 w 243"/>
                <a:gd name="T63" fmla="*/ 163 h 238"/>
                <a:gd name="T64" fmla="*/ 101 w 243"/>
                <a:gd name="T65" fmla="*/ 156 h 238"/>
                <a:gd name="T66" fmla="*/ 27 w 243"/>
                <a:gd name="T67" fmla="*/ 113 h 238"/>
                <a:gd name="T68" fmla="*/ 101 w 243"/>
                <a:gd name="T69" fmla="*/ 151 h 238"/>
                <a:gd name="T70" fmla="*/ 40 w 243"/>
                <a:gd name="T71" fmla="*/ 95 h 238"/>
                <a:gd name="T72" fmla="*/ 42 w 243"/>
                <a:gd name="T73" fmla="*/ 91 h 238"/>
                <a:gd name="T74" fmla="*/ 101 w 243"/>
                <a:gd name="T75" fmla="*/ 101 h 238"/>
                <a:gd name="T76" fmla="*/ 51 w 243"/>
                <a:gd name="T77" fmla="*/ 71 h 238"/>
                <a:gd name="T78" fmla="*/ 101 w 243"/>
                <a:gd name="T79" fmla="*/ 96 h 238"/>
                <a:gd name="T80" fmla="*/ 63 w 243"/>
                <a:gd name="T81" fmla="*/ 53 h 238"/>
                <a:gd name="T82" fmla="*/ 65 w 243"/>
                <a:gd name="T83" fmla="*/ 49 h 238"/>
                <a:gd name="T84" fmla="*/ 101 w 243"/>
                <a:gd name="T85" fmla="*/ 2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3" h="238">
                  <a:moveTo>
                    <a:pt x="232" y="85"/>
                  </a:moveTo>
                  <a:cubicBezTo>
                    <a:pt x="233" y="87"/>
                    <a:pt x="233" y="90"/>
                    <a:pt x="231" y="92"/>
                  </a:cubicBezTo>
                  <a:cubicBezTo>
                    <a:pt x="229" y="97"/>
                    <a:pt x="223" y="99"/>
                    <a:pt x="218" y="96"/>
                  </a:cubicBezTo>
                  <a:cubicBezTo>
                    <a:pt x="213" y="94"/>
                    <a:pt x="212" y="88"/>
                    <a:pt x="214" y="83"/>
                  </a:cubicBezTo>
                  <a:cubicBezTo>
                    <a:pt x="216" y="81"/>
                    <a:pt x="218" y="79"/>
                    <a:pt x="220" y="78"/>
                  </a:cubicBezTo>
                  <a:cubicBezTo>
                    <a:pt x="206" y="71"/>
                    <a:pt x="206" y="71"/>
                    <a:pt x="206" y="71"/>
                  </a:cubicBezTo>
                  <a:cubicBezTo>
                    <a:pt x="207" y="73"/>
                    <a:pt x="207" y="76"/>
                    <a:pt x="205" y="78"/>
                  </a:cubicBezTo>
                  <a:cubicBezTo>
                    <a:pt x="203" y="83"/>
                    <a:pt x="197" y="84"/>
                    <a:pt x="192" y="82"/>
                  </a:cubicBezTo>
                  <a:cubicBezTo>
                    <a:pt x="188" y="79"/>
                    <a:pt x="186" y="73"/>
                    <a:pt x="188" y="69"/>
                  </a:cubicBezTo>
                  <a:cubicBezTo>
                    <a:pt x="190" y="66"/>
                    <a:pt x="192" y="65"/>
                    <a:pt x="194" y="64"/>
                  </a:cubicBezTo>
                  <a:cubicBezTo>
                    <a:pt x="180" y="56"/>
                    <a:pt x="180" y="56"/>
                    <a:pt x="180" y="56"/>
                  </a:cubicBezTo>
                  <a:cubicBezTo>
                    <a:pt x="181" y="59"/>
                    <a:pt x="181" y="61"/>
                    <a:pt x="179" y="64"/>
                  </a:cubicBezTo>
                  <a:cubicBezTo>
                    <a:pt x="177" y="68"/>
                    <a:pt x="171" y="70"/>
                    <a:pt x="166" y="67"/>
                  </a:cubicBezTo>
                  <a:cubicBezTo>
                    <a:pt x="161" y="65"/>
                    <a:pt x="160" y="59"/>
                    <a:pt x="162" y="54"/>
                  </a:cubicBezTo>
                  <a:cubicBezTo>
                    <a:pt x="164" y="52"/>
                    <a:pt x="166" y="50"/>
                    <a:pt x="168" y="50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5" y="44"/>
                    <a:pt x="155" y="47"/>
                    <a:pt x="153" y="49"/>
                  </a:cubicBezTo>
                  <a:cubicBezTo>
                    <a:pt x="151" y="54"/>
                    <a:pt x="145" y="56"/>
                    <a:pt x="140" y="53"/>
                  </a:cubicBezTo>
                  <a:cubicBezTo>
                    <a:pt x="136" y="50"/>
                    <a:pt x="134" y="45"/>
                    <a:pt x="136" y="40"/>
                  </a:cubicBezTo>
                  <a:cubicBezTo>
                    <a:pt x="138" y="37"/>
                    <a:pt x="140" y="36"/>
                    <a:pt x="142" y="35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9" y="30"/>
                    <a:pt x="129" y="33"/>
                    <a:pt x="128" y="35"/>
                  </a:cubicBezTo>
                  <a:cubicBezTo>
                    <a:pt x="125" y="40"/>
                    <a:pt x="119" y="41"/>
                    <a:pt x="114" y="39"/>
                  </a:cubicBezTo>
                  <a:cubicBezTo>
                    <a:pt x="110" y="36"/>
                    <a:pt x="108" y="30"/>
                    <a:pt x="110" y="25"/>
                  </a:cubicBezTo>
                  <a:cubicBezTo>
                    <a:pt x="112" y="23"/>
                    <a:pt x="114" y="22"/>
                    <a:pt x="116" y="21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6"/>
                    <a:pt x="103" y="18"/>
                    <a:pt x="102" y="21"/>
                  </a:cubicBezTo>
                  <a:cubicBezTo>
                    <a:pt x="101" y="21"/>
                    <a:pt x="101" y="22"/>
                    <a:pt x="101" y="2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208" y="128"/>
                    <a:pt x="208" y="128"/>
                    <a:pt x="208" y="128"/>
                  </a:cubicBezTo>
                  <a:cubicBezTo>
                    <a:pt x="209" y="129"/>
                    <a:pt x="209" y="130"/>
                    <a:pt x="209" y="131"/>
                  </a:cubicBezTo>
                  <a:cubicBezTo>
                    <a:pt x="208" y="132"/>
                    <a:pt x="207" y="133"/>
                    <a:pt x="206" y="132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96" y="149"/>
                    <a:pt x="196" y="149"/>
                    <a:pt x="196" y="149"/>
                  </a:cubicBezTo>
                  <a:cubicBezTo>
                    <a:pt x="197" y="150"/>
                    <a:pt x="198" y="151"/>
                    <a:pt x="197" y="152"/>
                  </a:cubicBezTo>
                  <a:cubicBezTo>
                    <a:pt x="197" y="153"/>
                    <a:pt x="195" y="154"/>
                    <a:pt x="194" y="153"/>
                  </a:cubicBezTo>
                  <a:cubicBezTo>
                    <a:pt x="194" y="153"/>
                    <a:pt x="194" y="153"/>
                    <a:pt x="194" y="153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1" y="124"/>
                    <a:pt x="101" y="124"/>
                    <a:pt x="101" y="124"/>
                  </a:cubicBezTo>
                  <a:cubicBezTo>
                    <a:pt x="185" y="170"/>
                    <a:pt x="185" y="170"/>
                    <a:pt x="185" y="170"/>
                  </a:cubicBezTo>
                  <a:cubicBezTo>
                    <a:pt x="186" y="171"/>
                    <a:pt x="186" y="172"/>
                    <a:pt x="186" y="173"/>
                  </a:cubicBezTo>
                  <a:cubicBezTo>
                    <a:pt x="185" y="174"/>
                    <a:pt x="184" y="175"/>
                    <a:pt x="182" y="174"/>
                  </a:cubicBezTo>
                  <a:cubicBezTo>
                    <a:pt x="182" y="174"/>
                    <a:pt x="182" y="174"/>
                    <a:pt x="182" y="174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4" y="192"/>
                    <a:pt x="174" y="193"/>
                    <a:pt x="174" y="194"/>
                  </a:cubicBezTo>
                  <a:cubicBezTo>
                    <a:pt x="173" y="196"/>
                    <a:pt x="172" y="196"/>
                    <a:pt x="171" y="195"/>
                  </a:cubicBezTo>
                  <a:cubicBezTo>
                    <a:pt x="171" y="195"/>
                    <a:pt x="171" y="195"/>
                    <a:pt x="171" y="195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101" y="210"/>
                    <a:pt x="101" y="210"/>
                    <a:pt x="101" y="210"/>
                  </a:cubicBezTo>
                  <a:cubicBezTo>
                    <a:pt x="138" y="231"/>
                    <a:pt x="138" y="231"/>
                    <a:pt x="138" y="231"/>
                  </a:cubicBezTo>
                  <a:cubicBezTo>
                    <a:pt x="150" y="238"/>
                    <a:pt x="164" y="233"/>
                    <a:pt x="171" y="222"/>
                  </a:cubicBezTo>
                  <a:cubicBezTo>
                    <a:pt x="243" y="91"/>
                    <a:pt x="243" y="91"/>
                    <a:pt x="243" y="91"/>
                  </a:cubicBezTo>
                  <a:lnTo>
                    <a:pt x="232" y="85"/>
                  </a:lnTo>
                  <a:close/>
                  <a:moveTo>
                    <a:pt x="101" y="22"/>
                  </a:moveTo>
                  <a:cubicBezTo>
                    <a:pt x="98" y="26"/>
                    <a:pt x="93" y="27"/>
                    <a:pt x="88" y="24"/>
                  </a:cubicBezTo>
                  <a:cubicBezTo>
                    <a:pt x="84" y="22"/>
                    <a:pt x="82" y="16"/>
                    <a:pt x="85" y="11"/>
                  </a:cubicBezTo>
                  <a:cubicBezTo>
                    <a:pt x="86" y="9"/>
                    <a:pt x="88" y="7"/>
                    <a:pt x="90" y="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0" y="142"/>
                    <a:pt x="4" y="157"/>
                    <a:pt x="15" y="163"/>
                  </a:cubicBezTo>
                  <a:cubicBezTo>
                    <a:pt x="101" y="210"/>
                    <a:pt x="101" y="210"/>
                    <a:pt x="101" y="210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7" y="116"/>
                    <a:pt x="27" y="114"/>
                    <a:pt x="27" y="113"/>
                  </a:cubicBezTo>
                  <a:cubicBezTo>
                    <a:pt x="28" y="112"/>
                    <a:pt x="29" y="112"/>
                    <a:pt x="30" y="112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9" y="95"/>
                    <a:pt x="38" y="93"/>
                    <a:pt x="39" y="92"/>
                  </a:cubicBezTo>
                  <a:cubicBezTo>
                    <a:pt x="40" y="91"/>
                    <a:pt x="41" y="91"/>
                    <a:pt x="42" y="91"/>
                  </a:cubicBezTo>
                  <a:cubicBezTo>
                    <a:pt x="101" y="124"/>
                    <a:pt x="101" y="124"/>
                    <a:pt x="101" y="124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4"/>
                    <a:pt x="50" y="72"/>
                    <a:pt x="51" y="71"/>
                  </a:cubicBezTo>
                  <a:cubicBezTo>
                    <a:pt x="51" y="70"/>
                    <a:pt x="53" y="70"/>
                    <a:pt x="54" y="70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2" y="53"/>
                    <a:pt x="62" y="51"/>
                    <a:pt x="62" y="50"/>
                  </a:cubicBezTo>
                  <a:cubicBezTo>
                    <a:pt x="63" y="49"/>
                    <a:pt x="64" y="49"/>
                    <a:pt x="65" y="49"/>
                  </a:cubicBezTo>
                  <a:cubicBezTo>
                    <a:pt x="101" y="69"/>
                    <a:pt x="101" y="69"/>
                    <a:pt x="101" y="69"/>
                  </a:cubicBezTo>
                  <a:lnTo>
                    <a:pt x="101" y="22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49" name="Freeform 58">
              <a:extLst>
                <a:ext uri="{FF2B5EF4-FFF2-40B4-BE49-F238E27FC236}">
                  <a16:creationId xmlns:a16="http://schemas.microsoft.com/office/drawing/2014/main" id="{EC3934AC-AEF9-4691-8273-48BCDC797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9564" y="3355993"/>
              <a:ext cx="514216" cy="520564"/>
            </a:xfrm>
            <a:custGeom>
              <a:avLst/>
              <a:gdLst>
                <a:gd name="T0" fmla="*/ 189 w 236"/>
                <a:gd name="T1" fmla="*/ 60 h 239"/>
                <a:gd name="T2" fmla="*/ 196 w 236"/>
                <a:gd name="T3" fmla="*/ 122 h 239"/>
                <a:gd name="T4" fmla="*/ 198 w 236"/>
                <a:gd name="T5" fmla="*/ 136 h 239"/>
                <a:gd name="T6" fmla="*/ 208 w 236"/>
                <a:gd name="T7" fmla="*/ 157 h 239"/>
                <a:gd name="T8" fmla="*/ 189 w 236"/>
                <a:gd name="T9" fmla="*/ 195 h 239"/>
                <a:gd name="T10" fmla="*/ 168 w 236"/>
                <a:gd name="T11" fmla="*/ 156 h 239"/>
                <a:gd name="T12" fmla="*/ 168 w 236"/>
                <a:gd name="T13" fmla="*/ 78 h 239"/>
                <a:gd name="T14" fmla="*/ 182 w 236"/>
                <a:gd name="T15" fmla="*/ 92 h 239"/>
                <a:gd name="T16" fmla="*/ 185 w 236"/>
                <a:gd name="T17" fmla="*/ 107 h 239"/>
                <a:gd name="T18" fmla="*/ 189 w 236"/>
                <a:gd name="T19" fmla="*/ 141 h 239"/>
                <a:gd name="T20" fmla="*/ 189 w 236"/>
                <a:gd name="T21" fmla="*/ 130 h 239"/>
                <a:gd name="T22" fmla="*/ 168 w 236"/>
                <a:gd name="T23" fmla="*/ 155 h 239"/>
                <a:gd name="T24" fmla="*/ 160 w 236"/>
                <a:gd name="T25" fmla="*/ 138 h 239"/>
                <a:gd name="T26" fmla="*/ 165 w 236"/>
                <a:gd name="T27" fmla="*/ 172 h 239"/>
                <a:gd name="T28" fmla="*/ 168 w 236"/>
                <a:gd name="T29" fmla="*/ 16 h 239"/>
                <a:gd name="T30" fmla="*/ 163 w 236"/>
                <a:gd name="T31" fmla="*/ 49 h 239"/>
                <a:gd name="T32" fmla="*/ 168 w 236"/>
                <a:gd name="T33" fmla="*/ 78 h 239"/>
                <a:gd name="T34" fmla="*/ 159 w 236"/>
                <a:gd name="T35" fmla="*/ 118 h 239"/>
                <a:gd name="T36" fmla="*/ 159 w 236"/>
                <a:gd name="T37" fmla="*/ 209 h 239"/>
                <a:gd name="T38" fmla="*/ 159 w 236"/>
                <a:gd name="T39" fmla="*/ 5 h 239"/>
                <a:gd name="T40" fmla="*/ 159 w 236"/>
                <a:gd name="T41" fmla="*/ 40 h 239"/>
                <a:gd name="T42" fmla="*/ 144 w 236"/>
                <a:gd name="T43" fmla="*/ 89 h 239"/>
                <a:gd name="T44" fmla="*/ 159 w 236"/>
                <a:gd name="T45" fmla="*/ 108 h 239"/>
                <a:gd name="T46" fmla="*/ 159 w 236"/>
                <a:gd name="T47" fmla="*/ 136 h 239"/>
                <a:gd name="T48" fmla="*/ 144 w 236"/>
                <a:gd name="T49" fmla="*/ 162 h 239"/>
                <a:gd name="T50" fmla="*/ 151 w 236"/>
                <a:gd name="T51" fmla="*/ 143 h 239"/>
                <a:gd name="T52" fmla="*/ 146 w 236"/>
                <a:gd name="T53" fmla="*/ 109 h 239"/>
                <a:gd name="T54" fmla="*/ 123 w 236"/>
                <a:gd name="T55" fmla="*/ 7 h 239"/>
                <a:gd name="T56" fmla="*/ 144 w 236"/>
                <a:gd name="T57" fmla="*/ 0 h 239"/>
                <a:gd name="T58" fmla="*/ 144 w 236"/>
                <a:gd name="T59" fmla="*/ 187 h 239"/>
                <a:gd name="T60" fmla="*/ 123 w 236"/>
                <a:gd name="T61" fmla="*/ 225 h 239"/>
                <a:gd name="T62" fmla="*/ 140 w 236"/>
                <a:gd name="T63" fmla="*/ 96 h 239"/>
                <a:gd name="T64" fmla="*/ 123 w 236"/>
                <a:gd name="T65" fmla="*/ 135 h 239"/>
                <a:gd name="T66" fmla="*/ 137 w 236"/>
                <a:gd name="T67" fmla="*/ 113 h 239"/>
                <a:gd name="T68" fmla="*/ 123 w 236"/>
                <a:gd name="T69" fmla="*/ 82 h 239"/>
                <a:gd name="T70" fmla="*/ 125 w 236"/>
                <a:gd name="T71" fmla="*/ 171 h 239"/>
                <a:gd name="T72" fmla="*/ 123 w 236"/>
                <a:gd name="T73" fmla="*/ 7 h 239"/>
                <a:gd name="T74" fmla="*/ 123 w 236"/>
                <a:gd name="T75" fmla="*/ 7 h 239"/>
                <a:gd name="T76" fmla="*/ 123 w 236"/>
                <a:gd name="T77" fmla="*/ 177 h 239"/>
                <a:gd name="T78" fmla="*/ 121 w 236"/>
                <a:gd name="T79" fmla="*/ 162 h 239"/>
                <a:gd name="T80" fmla="*/ 123 w 236"/>
                <a:gd name="T81" fmla="*/ 135 h 239"/>
                <a:gd name="T82" fmla="*/ 99 w 236"/>
                <a:gd name="T83" fmla="*/ 124 h 239"/>
                <a:gd name="T84" fmla="*/ 106 w 236"/>
                <a:gd name="T85" fmla="*/ 164 h 239"/>
                <a:gd name="T86" fmla="*/ 108 w 236"/>
                <a:gd name="T87" fmla="*/ 179 h 239"/>
                <a:gd name="T88" fmla="*/ 118 w 236"/>
                <a:gd name="T89" fmla="*/ 199 h 239"/>
                <a:gd name="T90" fmla="*/ 123 w 236"/>
                <a:gd name="T91" fmla="*/ 99 h 239"/>
                <a:gd name="T92" fmla="*/ 99 w 236"/>
                <a:gd name="T93" fmla="*/ 18 h 239"/>
                <a:gd name="T94" fmla="*/ 99 w 236"/>
                <a:gd name="T95" fmla="*/ 18 h 239"/>
                <a:gd name="T96" fmla="*/ 89 w 236"/>
                <a:gd name="T97" fmla="*/ 212 h 239"/>
                <a:gd name="T98" fmla="*/ 99 w 236"/>
                <a:gd name="T99" fmla="*/ 183 h 239"/>
                <a:gd name="T100" fmla="*/ 71 w 236"/>
                <a:gd name="T101" fmla="*/ 227 h 239"/>
                <a:gd name="T102" fmla="*/ 95 w 236"/>
                <a:gd name="T103" fmla="*/ 117 h 239"/>
                <a:gd name="T104" fmla="*/ 71 w 236"/>
                <a:gd name="T105" fmla="*/ 160 h 239"/>
                <a:gd name="T106" fmla="*/ 92 w 236"/>
                <a:gd name="T107" fmla="*/ 134 h 239"/>
                <a:gd name="T108" fmla="*/ 71 w 236"/>
                <a:gd name="T109" fmla="*/ 107 h 239"/>
                <a:gd name="T110" fmla="*/ 7 w 236"/>
                <a:gd name="T111" fmla="*/ 91 h 239"/>
                <a:gd name="T112" fmla="*/ 70 w 236"/>
                <a:gd name="T113" fmla="*/ 181 h 239"/>
                <a:gd name="T114" fmla="*/ 71 w 236"/>
                <a:gd name="T115" fmla="*/ 149 h 239"/>
                <a:gd name="T116" fmla="*/ 52 w 236"/>
                <a:gd name="T117" fmla="*/ 133 h 239"/>
                <a:gd name="T118" fmla="*/ 35 w 236"/>
                <a:gd name="T119" fmla="*/ 109 h 239"/>
                <a:gd name="T120" fmla="*/ 71 w 236"/>
                <a:gd name="T121" fmla="*/ 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6" h="239">
                  <a:moveTo>
                    <a:pt x="189" y="195"/>
                  </a:moveTo>
                  <a:cubicBezTo>
                    <a:pt x="216" y="182"/>
                    <a:pt x="216" y="182"/>
                    <a:pt x="216" y="182"/>
                  </a:cubicBezTo>
                  <a:cubicBezTo>
                    <a:pt x="230" y="176"/>
                    <a:pt x="236" y="159"/>
                    <a:pt x="229" y="146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90" y="108"/>
                    <a:pt x="190" y="108"/>
                    <a:pt x="190" y="109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7" y="124"/>
                    <a:pt x="196" y="126"/>
                    <a:pt x="194" y="127"/>
                  </a:cubicBezTo>
                  <a:cubicBezTo>
                    <a:pt x="189" y="130"/>
                    <a:pt x="189" y="130"/>
                    <a:pt x="189" y="130"/>
                  </a:cubicBezTo>
                  <a:cubicBezTo>
                    <a:pt x="189" y="141"/>
                    <a:pt x="189" y="141"/>
                    <a:pt x="189" y="141"/>
                  </a:cubicBezTo>
                  <a:cubicBezTo>
                    <a:pt x="198" y="136"/>
                    <a:pt x="198" y="136"/>
                    <a:pt x="198" y="136"/>
                  </a:cubicBezTo>
                  <a:cubicBezTo>
                    <a:pt x="201" y="135"/>
                    <a:pt x="203" y="136"/>
                    <a:pt x="204" y="138"/>
                  </a:cubicBezTo>
                  <a:cubicBezTo>
                    <a:pt x="210" y="151"/>
                    <a:pt x="210" y="151"/>
                    <a:pt x="210" y="151"/>
                  </a:cubicBezTo>
                  <a:cubicBezTo>
                    <a:pt x="210" y="151"/>
                    <a:pt x="210" y="151"/>
                    <a:pt x="210" y="151"/>
                  </a:cubicBezTo>
                  <a:cubicBezTo>
                    <a:pt x="211" y="153"/>
                    <a:pt x="210" y="156"/>
                    <a:pt x="208" y="157"/>
                  </a:cubicBezTo>
                  <a:cubicBezTo>
                    <a:pt x="189" y="166"/>
                    <a:pt x="189" y="166"/>
                    <a:pt x="189" y="166"/>
                  </a:cubicBezTo>
                  <a:lnTo>
                    <a:pt x="189" y="195"/>
                  </a:lnTo>
                  <a:close/>
                  <a:moveTo>
                    <a:pt x="168" y="204"/>
                  </a:moveTo>
                  <a:cubicBezTo>
                    <a:pt x="189" y="195"/>
                    <a:pt x="189" y="195"/>
                    <a:pt x="189" y="195"/>
                  </a:cubicBezTo>
                  <a:cubicBezTo>
                    <a:pt x="189" y="166"/>
                    <a:pt x="189" y="166"/>
                    <a:pt x="189" y="166"/>
                  </a:cubicBezTo>
                  <a:cubicBezTo>
                    <a:pt x="180" y="170"/>
                    <a:pt x="180" y="170"/>
                    <a:pt x="180" y="170"/>
                  </a:cubicBezTo>
                  <a:cubicBezTo>
                    <a:pt x="178" y="171"/>
                    <a:pt x="175" y="170"/>
                    <a:pt x="174" y="168"/>
                  </a:cubicBezTo>
                  <a:cubicBezTo>
                    <a:pt x="168" y="156"/>
                    <a:pt x="168" y="156"/>
                    <a:pt x="168" y="156"/>
                  </a:cubicBezTo>
                  <a:cubicBezTo>
                    <a:pt x="168" y="204"/>
                    <a:pt x="168" y="204"/>
                    <a:pt x="168" y="204"/>
                  </a:cubicBezTo>
                  <a:close/>
                  <a:moveTo>
                    <a:pt x="189" y="60"/>
                  </a:moveTo>
                  <a:cubicBezTo>
                    <a:pt x="168" y="16"/>
                    <a:pt x="168" y="16"/>
                    <a:pt x="168" y="16"/>
                  </a:cubicBezTo>
                  <a:cubicBezTo>
                    <a:pt x="168" y="78"/>
                    <a:pt x="168" y="78"/>
                    <a:pt x="168" y="78"/>
                  </a:cubicBezTo>
                  <a:cubicBezTo>
                    <a:pt x="171" y="77"/>
                    <a:pt x="171" y="77"/>
                    <a:pt x="171" y="77"/>
                  </a:cubicBezTo>
                  <a:cubicBezTo>
                    <a:pt x="173" y="76"/>
                    <a:pt x="175" y="77"/>
                    <a:pt x="176" y="79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183" y="94"/>
                    <a:pt x="182" y="97"/>
                    <a:pt x="180" y="98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8" y="114"/>
                    <a:pt x="168" y="114"/>
                    <a:pt x="168" y="114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6" y="106"/>
                    <a:pt x="188" y="106"/>
                    <a:pt x="189" y="107"/>
                  </a:cubicBezTo>
                  <a:cubicBezTo>
                    <a:pt x="189" y="60"/>
                    <a:pt x="189" y="60"/>
                    <a:pt x="189" y="60"/>
                  </a:cubicBezTo>
                  <a:close/>
                  <a:moveTo>
                    <a:pt x="189" y="130"/>
                  </a:moveTo>
                  <a:cubicBezTo>
                    <a:pt x="189" y="141"/>
                    <a:pt x="189" y="141"/>
                    <a:pt x="189" y="141"/>
                  </a:cubicBezTo>
                  <a:cubicBezTo>
                    <a:pt x="170" y="150"/>
                    <a:pt x="170" y="150"/>
                    <a:pt x="170" y="150"/>
                  </a:cubicBezTo>
                  <a:cubicBezTo>
                    <a:pt x="169" y="150"/>
                    <a:pt x="169" y="151"/>
                    <a:pt x="168" y="151"/>
                  </a:cubicBezTo>
                  <a:cubicBezTo>
                    <a:pt x="168" y="139"/>
                    <a:pt x="168" y="139"/>
                    <a:pt x="168" y="139"/>
                  </a:cubicBezTo>
                  <a:lnTo>
                    <a:pt x="189" y="130"/>
                  </a:lnTo>
                  <a:close/>
                  <a:moveTo>
                    <a:pt x="159" y="209"/>
                  </a:moveTo>
                  <a:cubicBezTo>
                    <a:pt x="168" y="204"/>
                    <a:pt x="168" y="204"/>
                    <a:pt x="168" y="204"/>
                  </a:cubicBezTo>
                  <a:cubicBezTo>
                    <a:pt x="168" y="156"/>
                    <a:pt x="168" y="156"/>
                    <a:pt x="168" y="156"/>
                  </a:cubicBezTo>
                  <a:cubicBezTo>
                    <a:pt x="168" y="155"/>
                    <a:pt x="168" y="155"/>
                    <a:pt x="168" y="155"/>
                  </a:cubicBezTo>
                  <a:cubicBezTo>
                    <a:pt x="168" y="154"/>
                    <a:pt x="168" y="152"/>
                    <a:pt x="168" y="151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6" y="141"/>
                    <a:pt x="166" y="141"/>
                    <a:pt x="166" y="141"/>
                  </a:cubicBezTo>
                  <a:cubicBezTo>
                    <a:pt x="164" y="142"/>
                    <a:pt x="161" y="141"/>
                    <a:pt x="160" y="138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60"/>
                    <a:pt x="159" y="160"/>
                    <a:pt x="159" y="160"/>
                  </a:cubicBezTo>
                  <a:cubicBezTo>
                    <a:pt x="165" y="172"/>
                    <a:pt x="165" y="172"/>
                    <a:pt x="165" y="172"/>
                  </a:cubicBezTo>
                  <a:cubicBezTo>
                    <a:pt x="165" y="172"/>
                    <a:pt x="165" y="172"/>
                    <a:pt x="165" y="172"/>
                  </a:cubicBezTo>
                  <a:cubicBezTo>
                    <a:pt x="166" y="175"/>
                    <a:pt x="165" y="177"/>
                    <a:pt x="163" y="178"/>
                  </a:cubicBezTo>
                  <a:cubicBezTo>
                    <a:pt x="159" y="180"/>
                    <a:pt x="159" y="180"/>
                    <a:pt x="159" y="180"/>
                  </a:cubicBezTo>
                  <a:cubicBezTo>
                    <a:pt x="159" y="209"/>
                    <a:pt x="159" y="209"/>
                    <a:pt x="159" y="209"/>
                  </a:cubicBezTo>
                  <a:close/>
                  <a:moveTo>
                    <a:pt x="168" y="16"/>
                  </a:moveTo>
                  <a:cubicBezTo>
                    <a:pt x="168" y="15"/>
                    <a:pt x="168" y="15"/>
                    <a:pt x="168" y="15"/>
                  </a:cubicBezTo>
                  <a:cubicBezTo>
                    <a:pt x="166" y="11"/>
                    <a:pt x="163" y="7"/>
                    <a:pt x="159" y="5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6" y="55"/>
                    <a:pt x="164" y="61"/>
                    <a:pt x="159" y="65"/>
                  </a:cubicBezTo>
                  <a:cubicBezTo>
                    <a:pt x="159" y="82"/>
                    <a:pt x="159" y="82"/>
                    <a:pt x="159" y="82"/>
                  </a:cubicBezTo>
                  <a:cubicBezTo>
                    <a:pt x="168" y="78"/>
                    <a:pt x="168" y="78"/>
                    <a:pt x="168" y="78"/>
                  </a:cubicBezTo>
                  <a:cubicBezTo>
                    <a:pt x="168" y="16"/>
                    <a:pt x="168" y="16"/>
                    <a:pt x="168" y="16"/>
                  </a:cubicBezTo>
                  <a:close/>
                  <a:moveTo>
                    <a:pt x="168" y="103"/>
                  </a:moveTo>
                  <a:cubicBezTo>
                    <a:pt x="168" y="114"/>
                    <a:pt x="168" y="114"/>
                    <a:pt x="168" y="114"/>
                  </a:cubicBezTo>
                  <a:cubicBezTo>
                    <a:pt x="159" y="118"/>
                    <a:pt x="159" y="118"/>
                    <a:pt x="159" y="118"/>
                  </a:cubicBezTo>
                  <a:cubicBezTo>
                    <a:pt x="159" y="108"/>
                    <a:pt x="159" y="108"/>
                    <a:pt x="159" y="108"/>
                  </a:cubicBezTo>
                  <a:lnTo>
                    <a:pt x="168" y="103"/>
                  </a:lnTo>
                  <a:close/>
                  <a:moveTo>
                    <a:pt x="144" y="216"/>
                  </a:moveTo>
                  <a:cubicBezTo>
                    <a:pt x="159" y="209"/>
                    <a:pt x="159" y="209"/>
                    <a:pt x="159" y="209"/>
                  </a:cubicBezTo>
                  <a:cubicBezTo>
                    <a:pt x="159" y="180"/>
                    <a:pt x="159" y="180"/>
                    <a:pt x="159" y="180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4" y="216"/>
                    <a:pt x="144" y="216"/>
                    <a:pt x="144" y="216"/>
                  </a:cubicBezTo>
                  <a:close/>
                  <a:moveTo>
                    <a:pt x="159" y="5"/>
                  </a:moveTo>
                  <a:cubicBezTo>
                    <a:pt x="155" y="2"/>
                    <a:pt x="149" y="0"/>
                    <a:pt x="144" y="0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48" y="23"/>
                    <a:pt x="152" y="25"/>
                    <a:pt x="154" y="3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5"/>
                    <a:pt x="159" y="5"/>
                    <a:pt x="159" y="5"/>
                  </a:cubicBezTo>
                  <a:close/>
                  <a:moveTo>
                    <a:pt x="159" y="65"/>
                  </a:moveTo>
                  <a:cubicBezTo>
                    <a:pt x="159" y="82"/>
                    <a:pt x="159" y="82"/>
                    <a:pt x="159" y="82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57" y="66"/>
                    <a:pt x="157" y="66"/>
                    <a:pt x="157" y="66"/>
                  </a:cubicBezTo>
                  <a:cubicBezTo>
                    <a:pt x="158" y="66"/>
                    <a:pt x="159" y="66"/>
                    <a:pt x="159" y="65"/>
                  </a:cubicBezTo>
                  <a:close/>
                  <a:moveTo>
                    <a:pt x="159" y="108"/>
                  </a:moveTo>
                  <a:cubicBezTo>
                    <a:pt x="159" y="118"/>
                    <a:pt x="159" y="118"/>
                    <a:pt x="159" y="118"/>
                  </a:cubicBezTo>
                  <a:cubicBezTo>
                    <a:pt x="156" y="120"/>
                    <a:pt x="156" y="120"/>
                    <a:pt x="156" y="120"/>
                  </a:cubicBezTo>
                  <a:cubicBezTo>
                    <a:pt x="154" y="121"/>
                    <a:pt x="153" y="123"/>
                    <a:pt x="154" y="12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9" y="160"/>
                    <a:pt x="159" y="160"/>
                    <a:pt x="159" y="160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8" y="157"/>
                    <a:pt x="155" y="156"/>
                    <a:pt x="153" y="157"/>
                  </a:cubicBezTo>
                  <a:cubicBezTo>
                    <a:pt x="144" y="162"/>
                    <a:pt x="144" y="162"/>
                    <a:pt x="144" y="162"/>
                  </a:cubicBezTo>
                  <a:cubicBezTo>
                    <a:pt x="144" y="151"/>
                    <a:pt x="144" y="151"/>
                    <a:pt x="144" y="151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51" y="147"/>
                    <a:pt x="152" y="145"/>
                    <a:pt x="151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5" y="129"/>
                    <a:pt x="144" y="129"/>
                    <a:pt x="144" y="128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6" y="109"/>
                    <a:pt x="146" y="109"/>
                    <a:pt x="146" y="109"/>
                  </a:cubicBezTo>
                  <a:cubicBezTo>
                    <a:pt x="147" y="111"/>
                    <a:pt x="150" y="112"/>
                    <a:pt x="152" y="111"/>
                  </a:cubicBezTo>
                  <a:lnTo>
                    <a:pt x="159" y="108"/>
                  </a:lnTo>
                  <a:close/>
                  <a:moveTo>
                    <a:pt x="132" y="2"/>
                  </a:moveTo>
                  <a:cubicBezTo>
                    <a:pt x="123" y="7"/>
                    <a:pt x="123" y="7"/>
                    <a:pt x="123" y="7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9" y="22"/>
                    <a:pt x="142" y="22"/>
                    <a:pt x="144" y="22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0" y="0"/>
                    <a:pt x="136" y="1"/>
                    <a:pt x="132" y="2"/>
                  </a:cubicBezTo>
                  <a:close/>
                  <a:moveTo>
                    <a:pt x="123" y="225"/>
                  </a:moveTo>
                  <a:cubicBezTo>
                    <a:pt x="144" y="216"/>
                    <a:pt x="144" y="216"/>
                    <a:pt x="144" y="216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35" y="191"/>
                    <a:pt x="135" y="191"/>
                    <a:pt x="135" y="191"/>
                  </a:cubicBezTo>
                  <a:cubicBezTo>
                    <a:pt x="133" y="192"/>
                    <a:pt x="130" y="191"/>
                    <a:pt x="129" y="189"/>
                  </a:cubicBezTo>
                  <a:cubicBezTo>
                    <a:pt x="123" y="177"/>
                    <a:pt x="123" y="177"/>
                    <a:pt x="123" y="177"/>
                  </a:cubicBezTo>
                  <a:cubicBezTo>
                    <a:pt x="123" y="225"/>
                    <a:pt x="123" y="225"/>
                    <a:pt x="123" y="225"/>
                  </a:cubicBezTo>
                  <a:close/>
                  <a:moveTo>
                    <a:pt x="144" y="72"/>
                  </a:moveTo>
                  <a:cubicBezTo>
                    <a:pt x="144" y="89"/>
                    <a:pt x="144" y="89"/>
                    <a:pt x="144" y="89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0" y="91"/>
                    <a:pt x="139" y="94"/>
                    <a:pt x="140" y="96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28"/>
                    <a:pt x="144" y="128"/>
                    <a:pt x="144" y="128"/>
                  </a:cubicBezTo>
                  <a:cubicBezTo>
                    <a:pt x="143" y="127"/>
                    <a:pt x="141" y="127"/>
                    <a:pt x="139" y="128"/>
                  </a:cubicBezTo>
                  <a:cubicBezTo>
                    <a:pt x="123" y="135"/>
                    <a:pt x="123" y="135"/>
                    <a:pt x="123" y="135"/>
                  </a:cubicBezTo>
                  <a:cubicBezTo>
                    <a:pt x="123" y="125"/>
                    <a:pt x="123" y="125"/>
                    <a:pt x="123" y="125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7" y="118"/>
                    <a:pt x="138" y="115"/>
                    <a:pt x="137" y="113"/>
                  </a:cubicBezTo>
                  <a:cubicBezTo>
                    <a:pt x="137" y="113"/>
                    <a:pt x="137" y="113"/>
                    <a:pt x="137" y="113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0" y="98"/>
                    <a:pt x="128" y="97"/>
                    <a:pt x="126" y="98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44" y="72"/>
                    <a:pt x="144" y="72"/>
                    <a:pt x="144" y="72"/>
                  </a:cubicBezTo>
                  <a:close/>
                  <a:moveTo>
                    <a:pt x="144" y="151"/>
                  </a:moveTo>
                  <a:cubicBezTo>
                    <a:pt x="144" y="162"/>
                    <a:pt x="144" y="162"/>
                    <a:pt x="144" y="162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71"/>
                    <a:pt x="124" y="172"/>
                    <a:pt x="123" y="172"/>
                  </a:cubicBezTo>
                  <a:cubicBezTo>
                    <a:pt x="123" y="161"/>
                    <a:pt x="123" y="161"/>
                    <a:pt x="123" y="161"/>
                  </a:cubicBezTo>
                  <a:lnTo>
                    <a:pt x="144" y="151"/>
                  </a:lnTo>
                  <a:close/>
                  <a:moveTo>
                    <a:pt x="123" y="7"/>
                  </a:moveTo>
                  <a:cubicBezTo>
                    <a:pt x="99" y="18"/>
                    <a:pt x="99" y="18"/>
                    <a:pt x="99" y="18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7"/>
                    <a:pt x="123" y="7"/>
                    <a:pt x="123" y="7"/>
                  </a:cubicBezTo>
                  <a:close/>
                  <a:moveTo>
                    <a:pt x="99" y="236"/>
                  </a:moveTo>
                  <a:cubicBezTo>
                    <a:pt x="100" y="236"/>
                    <a:pt x="102" y="235"/>
                    <a:pt x="103" y="235"/>
                  </a:cubicBezTo>
                  <a:cubicBezTo>
                    <a:pt x="123" y="225"/>
                    <a:pt x="123" y="225"/>
                    <a:pt x="123" y="225"/>
                  </a:cubicBezTo>
                  <a:cubicBezTo>
                    <a:pt x="123" y="177"/>
                    <a:pt x="123" y="177"/>
                    <a:pt x="123" y="177"/>
                  </a:cubicBezTo>
                  <a:cubicBezTo>
                    <a:pt x="123" y="176"/>
                    <a:pt x="123" y="176"/>
                    <a:pt x="123" y="176"/>
                  </a:cubicBezTo>
                  <a:cubicBezTo>
                    <a:pt x="122" y="175"/>
                    <a:pt x="123" y="174"/>
                    <a:pt x="123" y="172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19" y="163"/>
                    <a:pt x="116" y="162"/>
                    <a:pt x="115" y="159"/>
                  </a:cubicBezTo>
                  <a:cubicBezTo>
                    <a:pt x="109" y="147"/>
                    <a:pt x="109" y="147"/>
                    <a:pt x="109" y="147"/>
                  </a:cubicBezTo>
                  <a:cubicBezTo>
                    <a:pt x="108" y="145"/>
                    <a:pt x="109" y="142"/>
                    <a:pt x="111" y="141"/>
                  </a:cubicBezTo>
                  <a:cubicBezTo>
                    <a:pt x="123" y="135"/>
                    <a:pt x="123" y="135"/>
                    <a:pt x="123" y="135"/>
                  </a:cubicBezTo>
                  <a:cubicBezTo>
                    <a:pt x="123" y="125"/>
                    <a:pt x="123" y="125"/>
                    <a:pt x="123" y="125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5" y="133"/>
                    <a:pt x="102" y="132"/>
                    <a:pt x="101" y="130"/>
                  </a:cubicBezTo>
                  <a:cubicBezTo>
                    <a:pt x="99" y="124"/>
                    <a:pt x="99" y="124"/>
                    <a:pt x="99" y="124"/>
                  </a:cubicBezTo>
                  <a:cubicBezTo>
                    <a:pt x="99" y="150"/>
                    <a:pt x="99" y="150"/>
                    <a:pt x="99" y="150"/>
                  </a:cubicBezTo>
                  <a:cubicBezTo>
                    <a:pt x="99" y="150"/>
                    <a:pt x="99" y="151"/>
                    <a:pt x="100" y="151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7" y="166"/>
                    <a:pt x="106" y="169"/>
                    <a:pt x="104" y="170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99" y="183"/>
                    <a:pt x="99" y="183"/>
                    <a:pt x="99" y="183"/>
                  </a:cubicBezTo>
                  <a:cubicBezTo>
                    <a:pt x="108" y="179"/>
                    <a:pt x="108" y="179"/>
                    <a:pt x="108" y="179"/>
                  </a:cubicBezTo>
                  <a:cubicBezTo>
                    <a:pt x="110" y="178"/>
                    <a:pt x="113" y="179"/>
                    <a:pt x="114" y="181"/>
                  </a:cubicBezTo>
                  <a:cubicBezTo>
                    <a:pt x="120" y="194"/>
                    <a:pt x="120" y="194"/>
                    <a:pt x="120" y="194"/>
                  </a:cubicBezTo>
                  <a:cubicBezTo>
                    <a:pt x="120" y="194"/>
                    <a:pt x="120" y="194"/>
                    <a:pt x="120" y="194"/>
                  </a:cubicBezTo>
                  <a:cubicBezTo>
                    <a:pt x="121" y="196"/>
                    <a:pt x="120" y="198"/>
                    <a:pt x="118" y="199"/>
                  </a:cubicBezTo>
                  <a:cubicBezTo>
                    <a:pt x="99" y="208"/>
                    <a:pt x="99" y="208"/>
                    <a:pt x="99" y="208"/>
                  </a:cubicBezTo>
                  <a:cubicBezTo>
                    <a:pt x="99" y="236"/>
                    <a:pt x="99" y="236"/>
                    <a:pt x="99" y="236"/>
                  </a:cubicBezTo>
                  <a:close/>
                  <a:moveTo>
                    <a:pt x="123" y="82"/>
                  </a:moveTo>
                  <a:cubicBezTo>
                    <a:pt x="123" y="99"/>
                    <a:pt x="123" y="99"/>
                    <a:pt x="123" y="99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94"/>
                    <a:pt x="99" y="94"/>
                    <a:pt x="99" y="94"/>
                  </a:cubicBezTo>
                  <a:lnTo>
                    <a:pt x="123" y="82"/>
                  </a:lnTo>
                  <a:close/>
                  <a:moveTo>
                    <a:pt x="99" y="18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99" y="18"/>
                    <a:pt x="99" y="18"/>
                    <a:pt x="99" y="18"/>
                  </a:cubicBezTo>
                  <a:close/>
                  <a:moveTo>
                    <a:pt x="71" y="227"/>
                  </a:moveTo>
                  <a:cubicBezTo>
                    <a:pt x="77" y="235"/>
                    <a:pt x="88" y="239"/>
                    <a:pt x="99" y="236"/>
                  </a:cubicBezTo>
                  <a:cubicBezTo>
                    <a:pt x="99" y="208"/>
                    <a:pt x="99" y="208"/>
                    <a:pt x="99" y="208"/>
                  </a:cubicBezTo>
                  <a:cubicBezTo>
                    <a:pt x="89" y="212"/>
                    <a:pt x="89" y="212"/>
                    <a:pt x="89" y="212"/>
                  </a:cubicBezTo>
                  <a:cubicBezTo>
                    <a:pt x="87" y="213"/>
                    <a:pt x="85" y="213"/>
                    <a:pt x="84" y="21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77" y="195"/>
                    <a:pt x="78" y="193"/>
                    <a:pt x="80" y="192"/>
                  </a:cubicBezTo>
                  <a:cubicBezTo>
                    <a:pt x="99" y="183"/>
                    <a:pt x="99" y="183"/>
                    <a:pt x="99" y="183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75" y="183"/>
                    <a:pt x="75" y="183"/>
                    <a:pt x="75" y="183"/>
                  </a:cubicBezTo>
                  <a:cubicBezTo>
                    <a:pt x="74" y="184"/>
                    <a:pt x="72" y="183"/>
                    <a:pt x="71" y="182"/>
                  </a:cubicBezTo>
                  <a:cubicBezTo>
                    <a:pt x="71" y="227"/>
                    <a:pt x="71" y="227"/>
                    <a:pt x="71" y="227"/>
                  </a:cubicBezTo>
                  <a:close/>
                  <a:moveTo>
                    <a:pt x="99" y="94"/>
                  </a:moveTo>
                  <a:cubicBezTo>
                    <a:pt x="99" y="111"/>
                    <a:pt x="99" y="111"/>
                    <a:pt x="99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95" y="112"/>
                    <a:pt x="94" y="115"/>
                    <a:pt x="95" y="117"/>
                  </a:cubicBezTo>
                  <a:cubicBezTo>
                    <a:pt x="99" y="124"/>
                    <a:pt x="99" y="124"/>
                    <a:pt x="99" y="124"/>
                  </a:cubicBezTo>
                  <a:cubicBezTo>
                    <a:pt x="99" y="150"/>
                    <a:pt x="99" y="150"/>
                    <a:pt x="99" y="150"/>
                  </a:cubicBezTo>
                  <a:cubicBezTo>
                    <a:pt x="97" y="149"/>
                    <a:pt x="96" y="148"/>
                    <a:pt x="94" y="149"/>
                  </a:cubicBezTo>
                  <a:cubicBezTo>
                    <a:pt x="71" y="160"/>
                    <a:pt x="71" y="160"/>
                    <a:pt x="71" y="160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90" y="140"/>
                    <a:pt x="90" y="140"/>
                    <a:pt x="90" y="140"/>
                  </a:cubicBezTo>
                  <a:cubicBezTo>
                    <a:pt x="92" y="139"/>
                    <a:pt x="93" y="136"/>
                    <a:pt x="92" y="134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85" y="119"/>
                    <a:pt x="82" y="118"/>
                    <a:pt x="80" y="119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1" y="107"/>
                    <a:pt x="71" y="107"/>
                    <a:pt x="71" y="107"/>
                  </a:cubicBezTo>
                  <a:lnTo>
                    <a:pt x="99" y="94"/>
                  </a:lnTo>
                  <a:close/>
                  <a:moveTo>
                    <a:pt x="71" y="31"/>
                  </a:moveTo>
                  <a:cubicBezTo>
                    <a:pt x="20" y="55"/>
                    <a:pt x="20" y="55"/>
                    <a:pt x="20" y="55"/>
                  </a:cubicBezTo>
                  <a:cubicBezTo>
                    <a:pt x="6" y="62"/>
                    <a:pt x="0" y="78"/>
                    <a:pt x="7" y="91"/>
                  </a:cubicBezTo>
                  <a:cubicBezTo>
                    <a:pt x="68" y="222"/>
                    <a:pt x="68" y="222"/>
                    <a:pt x="68" y="222"/>
                  </a:cubicBezTo>
                  <a:cubicBezTo>
                    <a:pt x="69" y="223"/>
                    <a:pt x="70" y="225"/>
                    <a:pt x="71" y="227"/>
                  </a:cubicBezTo>
                  <a:cubicBezTo>
                    <a:pt x="71" y="182"/>
                    <a:pt x="71" y="182"/>
                    <a:pt x="71" y="182"/>
                  </a:cubicBezTo>
                  <a:cubicBezTo>
                    <a:pt x="71" y="182"/>
                    <a:pt x="70" y="181"/>
                    <a:pt x="70" y="181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3" y="166"/>
                    <a:pt x="64" y="163"/>
                    <a:pt x="66" y="162"/>
                  </a:cubicBezTo>
                  <a:cubicBezTo>
                    <a:pt x="71" y="160"/>
                    <a:pt x="71" y="160"/>
                    <a:pt x="71" y="160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0" y="154"/>
                    <a:pt x="57" y="153"/>
                    <a:pt x="56" y="151"/>
                  </a:cubicBezTo>
                  <a:cubicBezTo>
                    <a:pt x="50" y="138"/>
                    <a:pt x="50" y="138"/>
                    <a:pt x="50" y="138"/>
                  </a:cubicBezTo>
                  <a:cubicBezTo>
                    <a:pt x="49" y="136"/>
                    <a:pt x="50" y="134"/>
                    <a:pt x="52" y="133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46" y="118"/>
                    <a:pt x="38" y="116"/>
                    <a:pt x="35" y="10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3" y="83"/>
                    <a:pt x="26" y="75"/>
                    <a:pt x="33" y="72"/>
                  </a:cubicBezTo>
                  <a:cubicBezTo>
                    <a:pt x="71" y="54"/>
                    <a:pt x="71" y="54"/>
                    <a:pt x="71" y="54"/>
                  </a:cubicBezTo>
                  <a:lnTo>
                    <a:pt x="71" y="31"/>
                  </a:ln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0" name="Rectangle 59">
              <a:extLst>
                <a:ext uri="{FF2B5EF4-FFF2-40B4-BE49-F238E27FC236}">
                  <a16:creationId xmlns:a16="http://schemas.microsoft.com/office/drawing/2014/main" id="{59C26758-48D1-47FD-A9FB-2F52F90DE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65039" y="2862135"/>
              <a:ext cx="626900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1" name="Rectangle 60">
              <a:extLst>
                <a:ext uri="{FF2B5EF4-FFF2-40B4-BE49-F238E27FC236}">
                  <a16:creationId xmlns:a16="http://schemas.microsoft.com/office/drawing/2014/main" id="{67C175E2-1CFE-42C7-AA82-C8CF8EF89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0433" y="2798651"/>
              <a:ext cx="576113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2" name="Rectangle 61">
              <a:extLst>
                <a:ext uri="{FF2B5EF4-FFF2-40B4-BE49-F238E27FC236}">
                  <a16:creationId xmlns:a16="http://schemas.microsoft.com/office/drawing/2014/main" id="{64EC44FD-9616-46D9-9328-EFF2A8D99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7386" y="2733580"/>
              <a:ext cx="122207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3" name="Rectangle 62">
              <a:extLst>
                <a:ext uri="{FF2B5EF4-FFF2-40B4-BE49-F238E27FC236}">
                  <a16:creationId xmlns:a16="http://schemas.microsoft.com/office/drawing/2014/main" id="{9E878C6C-EF18-4B21-BE7D-5CE072238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9605" y="2500279"/>
              <a:ext cx="77768" cy="253933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4" name="Rectangle 63">
              <a:extLst>
                <a:ext uri="{FF2B5EF4-FFF2-40B4-BE49-F238E27FC236}">
                  <a16:creationId xmlns:a16="http://schemas.microsoft.com/office/drawing/2014/main" id="{CF82B15F-875A-4C20-9D21-6897993265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7386" y="2487583"/>
              <a:ext cx="122207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5" name="Rectangle 64">
              <a:extLst>
                <a:ext uri="{FF2B5EF4-FFF2-40B4-BE49-F238E27FC236}">
                  <a16:creationId xmlns:a16="http://schemas.microsoft.com/office/drawing/2014/main" id="{22086092-E6AB-4C9A-A6AB-8DD016EE8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3075" y="2733580"/>
              <a:ext cx="119032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6" name="Rectangle 65">
              <a:extLst>
                <a:ext uri="{FF2B5EF4-FFF2-40B4-BE49-F238E27FC236}">
                  <a16:creationId xmlns:a16="http://schemas.microsoft.com/office/drawing/2014/main" id="{38678AF1-5A65-417C-9756-5ABF108D6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707" y="2500279"/>
              <a:ext cx="76180" cy="253933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7" name="Rectangle 66">
              <a:extLst>
                <a:ext uri="{FF2B5EF4-FFF2-40B4-BE49-F238E27FC236}">
                  <a16:creationId xmlns:a16="http://schemas.microsoft.com/office/drawing/2014/main" id="{630BF34F-4418-4999-AE4A-81D1D068B3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3075" y="2487583"/>
              <a:ext cx="119032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8" name="Rectangle 67">
              <a:extLst>
                <a:ext uri="{FF2B5EF4-FFF2-40B4-BE49-F238E27FC236}">
                  <a16:creationId xmlns:a16="http://schemas.microsoft.com/office/drawing/2014/main" id="{1119764C-0A1E-497F-B659-9F9646FD7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4871" y="2733580"/>
              <a:ext cx="122207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59" name="Rectangle 68">
              <a:extLst>
                <a:ext uri="{FF2B5EF4-FFF2-40B4-BE49-F238E27FC236}">
                  <a16:creationId xmlns:a16="http://schemas.microsoft.com/office/drawing/2014/main" id="{BB07B700-DA24-4229-BAB4-F306D9486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5504" y="2500279"/>
              <a:ext cx="79355" cy="253933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0" name="Rectangle 69">
              <a:extLst>
                <a:ext uri="{FF2B5EF4-FFF2-40B4-BE49-F238E27FC236}">
                  <a16:creationId xmlns:a16="http://schemas.microsoft.com/office/drawing/2014/main" id="{231EB01C-059B-47FB-AE43-7C5FA6CE9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4871" y="2487583"/>
              <a:ext cx="122207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1" name="Rectangle 70">
              <a:extLst>
                <a:ext uri="{FF2B5EF4-FFF2-40B4-BE49-F238E27FC236}">
                  <a16:creationId xmlns:a16="http://schemas.microsoft.com/office/drawing/2014/main" id="{67BF04B9-6AB9-4638-97BC-7A0FF8E0C5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0433" y="2417751"/>
              <a:ext cx="576113" cy="31741"/>
            </a:xfrm>
            <a:prstGeom prst="rect">
              <a:avLst/>
            </a:pr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2" name="Freeform 71">
              <a:extLst>
                <a:ext uri="{FF2B5EF4-FFF2-40B4-BE49-F238E27FC236}">
                  <a16:creationId xmlns:a16="http://schemas.microsoft.com/office/drawing/2014/main" id="{3ECF800F-F3FB-40EC-96CA-71B712566D12}"/>
                </a:ext>
              </a:extLst>
            </p:cNvPr>
            <p:cNvSpPr/>
            <p:nvPr/>
          </p:nvSpPr>
          <p:spPr bwMode="auto">
            <a:xfrm>
              <a:off x="8490433" y="2233649"/>
              <a:ext cx="576113" cy="184103"/>
            </a:xfrm>
            <a:custGeom>
              <a:avLst/>
              <a:gdLst>
                <a:gd name="T0" fmla="*/ 181 w 363"/>
                <a:gd name="T1" fmla="*/ 0 h 116"/>
                <a:gd name="T2" fmla="*/ 363 w 363"/>
                <a:gd name="T3" fmla="*/ 116 h 116"/>
                <a:gd name="T4" fmla="*/ 0 w 363"/>
                <a:gd name="T5" fmla="*/ 116 h 116"/>
                <a:gd name="T6" fmla="*/ 181 w 363"/>
                <a:gd name="T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3" h="116">
                  <a:moveTo>
                    <a:pt x="181" y="0"/>
                  </a:moveTo>
                  <a:lnTo>
                    <a:pt x="363" y="116"/>
                  </a:lnTo>
                  <a:lnTo>
                    <a:pt x="0" y="116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3" name="Freeform 72">
              <a:extLst>
                <a:ext uri="{FF2B5EF4-FFF2-40B4-BE49-F238E27FC236}">
                  <a16:creationId xmlns:a16="http://schemas.microsoft.com/office/drawing/2014/main" id="{869E9A99-CDE6-41D1-8C35-DAAB2782D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6521" y="2400292"/>
              <a:ext cx="799892" cy="522152"/>
            </a:xfrm>
            <a:custGeom>
              <a:avLst/>
              <a:gdLst>
                <a:gd name="T0" fmla="*/ 82 w 367"/>
                <a:gd name="T1" fmla="*/ 27 h 240"/>
                <a:gd name="T2" fmla="*/ 367 w 367"/>
                <a:gd name="T3" fmla="*/ 120 h 240"/>
                <a:gd name="T4" fmla="*/ 82 w 367"/>
                <a:gd name="T5" fmla="*/ 213 h 240"/>
                <a:gd name="T6" fmla="*/ 82 w 367"/>
                <a:gd name="T7" fmla="*/ 177 h 240"/>
                <a:gd name="T8" fmla="*/ 127 w 367"/>
                <a:gd name="T9" fmla="*/ 143 h 240"/>
                <a:gd name="T10" fmla="*/ 127 w 367"/>
                <a:gd name="T11" fmla="*/ 87 h 240"/>
                <a:gd name="T12" fmla="*/ 138 w 367"/>
                <a:gd name="T13" fmla="*/ 87 h 240"/>
                <a:gd name="T14" fmla="*/ 138 w 367"/>
                <a:gd name="T15" fmla="*/ 64 h 240"/>
                <a:gd name="T16" fmla="*/ 127 w 367"/>
                <a:gd name="T17" fmla="*/ 64 h 240"/>
                <a:gd name="T18" fmla="*/ 102 w 367"/>
                <a:gd name="T19" fmla="*/ 64 h 240"/>
                <a:gd name="T20" fmla="*/ 91 w 367"/>
                <a:gd name="T21" fmla="*/ 64 h 240"/>
                <a:gd name="T22" fmla="*/ 91 w 367"/>
                <a:gd name="T23" fmla="*/ 87 h 240"/>
                <a:gd name="T24" fmla="*/ 102 w 367"/>
                <a:gd name="T25" fmla="*/ 87 h 240"/>
                <a:gd name="T26" fmla="*/ 102 w 367"/>
                <a:gd name="T27" fmla="*/ 143 h 240"/>
                <a:gd name="T28" fmla="*/ 82 w 367"/>
                <a:gd name="T29" fmla="*/ 156 h 240"/>
                <a:gd name="T30" fmla="*/ 82 w 367"/>
                <a:gd name="T31" fmla="*/ 27 h 240"/>
                <a:gd name="T32" fmla="*/ 0 w 367"/>
                <a:gd name="T33" fmla="*/ 0 h 240"/>
                <a:gd name="T34" fmla="*/ 82 w 367"/>
                <a:gd name="T35" fmla="*/ 27 h 240"/>
                <a:gd name="T36" fmla="*/ 82 w 367"/>
                <a:gd name="T37" fmla="*/ 156 h 240"/>
                <a:gd name="T38" fmla="*/ 82 w 367"/>
                <a:gd name="T39" fmla="*/ 156 h 240"/>
                <a:gd name="T40" fmla="*/ 62 w 367"/>
                <a:gd name="T41" fmla="*/ 143 h 240"/>
                <a:gd name="T42" fmla="*/ 62 w 367"/>
                <a:gd name="T43" fmla="*/ 87 h 240"/>
                <a:gd name="T44" fmla="*/ 73 w 367"/>
                <a:gd name="T45" fmla="*/ 87 h 240"/>
                <a:gd name="T46" fmla="*/ 73 w 367"/>
                <a:gd name="T47" fmla="*/ 64 h 240"/>
                <a:gd name="T48" fmla="*/ 62 w 367"/>
                <a:gd name="T49" fmla="*/ 64 h 240"/>
                <a:gd name="T50" fmla="*/ 37 w 367"/>
                <a:gd name="T51" fmla="*/ 64 h 240"/>
                <a:gd name="T52" fmla="*/ 26 w 367"/>
                <a:gd name="T53" fmla="*/ 64 h 240"/>
                <a:gd name="T54" fmla="*/ 26 w 367"/>
                <a:gd name="T55" fmla="*/ 87 h 240"/>
                <a:gd name="T56" fmla="*/ 37 w 367"/>
                <a:gd name="T57" fmla="*/ 87 h 240"/>
                <a:gd name="T58" fmla="*/ 37 w 367"/>
                <a:gd name="T59" fmla="*/ 143 h 240"/>
                <a:gd name="T60" fmla="*/ 82 w 367"/>
                <a:gd name="T61" fmla="*/ 177 h 240"/>
                <a:gd name="T62" fmla="*/ 82 w 367"/>
                <a:gd name="T63" fmla="*/ 177 h 240"/>
                <a:gd name="T64" fmla="*/ 82 w 367"/>
                <a:gd name="T65" fmla="*/ 213 h 240"/>
                <a:gd name="T66" fmla="*/ 0 w 367"/>
                <a:gd name="T67" fmla="*/ 240 h 240"/>
                <a:gd name="T68" fmla="*/ 0 w 367"/>
                <a:gd name="T69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240">
                  <a:moveTo>
                    <a:pt x="82" y="27"/>
                  </a:moveTo>
                  <a:cubicBezTo>
                    <a:pt x="367" y="120"/>
                    <a:pt x="367" y="120"/>
                    <a:pt x="367" y="120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107" y="177"/>
                    <a:pt x="127" y="162"/>
                    <a:pt x="127" y="143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102" y="87"/>
                    <a:pt x="102" y="87"/>
                    <a:pt x="102" y="87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102" y="150"/>
                    <a:pt x="93" y="156"/>
                    <a:pt x="82" y="156"/>
                  </a:cubicBezTo>
                  <a:lnTo>
                    <a:pt x="82" y="27"/>
                  </a:lnTo>
                  <a:close/>
                  <a:moveTo>
                    <a:pt x="0" y="0"/>
                  </a:moveTo>
                  <a:cubicBezTo>
                    <a:pt x="82" y="27"/>
                    <a:pt x="82" y="27"/>
                    <a:pt x="82" y="27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71" y="156"/>
                    <a:pt x="62" y="150"/>
                    <a:pt x="62" y="143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143"/>
                    <a:pt x="37" y="143"/>
                    <a:pt x="37" y="143"/>
                  </a:cubicBezTo>
                  <a:cubicBezTo>
                    <a:pt x="37" y="162"/>
                    <a:pt x="57" y="177"/>
                    <a:pt x="82" y="177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0" y="240"/>
                    <a:pt x="0" y="240"/>
                    <a:pt x="0" y="24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4" name="Freeform 73">
              <a:extLst>
                <a:ext uri="{FF2B5EF4-FFF2-40B4-BE49-F238E27FC236}">
                  <a16:creationId xmlns:a16="http://schemas.microsoft.com/office/drawing/2014/main" id="{5958EE73-28F9-4F84-A5DF-D6B009F1FE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71361" y="2973231"/>
              <a:ext cx="187276" cy="326940"/>
            </a:xfrm>
            <a:custGeom>
              <a:avLst/>
              <a:gdLst>
                <a:gd name="T0" fmla="*/ 37 w 86"/>
                <a:gd name="T1" fmla="*/ 128 h 150"/>
                <a:gd name="T2" fmla="*/ 34 w 86"/>
                <a:gd name="T3" fmla="*/ 127 h 150"/>
                <a:gd name="T4" fmla="*/ 34 w 86"/>
                <a:gd name="T5" fmla="*/ 150 h 150"/>
                <a:gd name="T6" fmla="*/ 45 w 86"/>
                <a:gd name="T7" fmla="*/ 142 h 150"/>
                <a:gd name="T8" fmla="*/ 37 w 86"/>
                <a:gd name="T9" fmla="*/ 128 h 150"/>
                <a:gd name="T10" fmla="*/ 34 w 86"/>
                <a:gd name="T11" fmla="*/ 118 h 150"/>
                <a:gd name="T12" fmla="*/ 34 w 86"/>
                <a:gd name="T13" fmla="*/ 51 h 150"/>
                <a:gd name="T14" fmla="*/ 51 w 86"/>
                <a:gd name="T15" fmla="*/ 46 h 150"/>
                <a:gd name="T16" fmla="*/ 61 w 86"/>
                <a:gd name="T17" fmla="*/ 8 h 150"/>
                <a:gd name="T18" fmla="*/ 72 w 86"/>
                <a:gd name="T19" fmla="*/ 1 h 150"/>
                <a:gd name="T20" fmla="*/ 78 w 86"/>
                <a:gd name="T21" fmla="*/ 12 h 150"/>
                <a:gd name="T22" fmla="*/ 69 w 86"/>
                <a:gd name="T23" fmla="*/ 51 h 150"/>
                <a:gd name="T24" fmla="*/ 82 w 86"/>
                <a:gd name="T25" fmla="*/ 84 h 150"/>
                <a:gd name="T26" fmla="*/ 77 w 86"/>
                <a:gd name="T27" fmla="*/ 103 h 150"/>
                <a:gd name="T28" fmla="*/ 77 w 86"/>
                <a:gd name="T29" fmla="*/ 103 h 150"/>
                <a:gd name="T30" fmla="*/ 86 w 86"/>
                <a:gd name="T31" fmla="*/ 117 h 150"/>
                <a:gd name="T32" fmla="*/ 83 w 86"/>
                <a:gd name="T33" fmla="*/ 130 h 150"/>
                <a:gd name="T34" fmla="*/ 34 w 86"/>
                <a:gd name="T35" fmla="*/ 118 h 150"/>
                <a:gd name="T36" fmla="*/ 34 w 86"/>
                <a:gd name="T37" fmla="*/ 127 h 150"/>
                <a:gd name="T38" fmla="*/ 23 w 86"/>
                <a:gd name="T39" fmla="*/ 136 h 150"/>
                <a:gd name="T40" fmla="*/ 31 w 86"/>
                <a:gd name="T41" fmla="*/ 150 h 150"/>
                <a:gd name="T42" fmla="*/ 34 w 86"/>
                <a:gd name="T43" fmla="*/ 150 h 150"/>
                <a:gd name="T44" fmla="*/ 34 w 86"/>
                <a:gd name="T45" fmla="*/ 127 h 150"/>
                <a:gd name="T46" fmla="*/ 34 w 86"/>
                <a:gd name="T47" fmla="*/ 51 h 150"/>
                <a:gd name="T48" fmla="*/ 34 w 86"/>
                <a:gd name="T49" fmla="*/ 118 h 150"/>
                <a:gd name="T50" fmla="*/ 0 w 86"/>
                <a:gd name="T51" fmla="*/ 109 h 150"/>
                <a:gd name="T52" fmla="*/ 3 w 86"/>
                <a:gd name="T53" fmla="*/ 96 h 150"/>
                <a:gd name="T54" fmla="*/ 18 w 86"/>
                <a:gd name="T55" fmla="*/ 88 h 150"/>
                <a:gd name="T56" fmla="*/ 23 w 86"/>
                <a:gd name="T57" fmla="*/ 69 h 150"/>
                <a:gd name="T58" fmla="*/ 34 w 86"/>
                <a:gd name="T59" fmla="*/ 5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6" h="150">
                  <a:moveTo>
                    <a:pt x="37" y="128"/>
                  </a:moveTo>
                  <a:cubicBezTo>
                    <a:pt x="36" y="127"/>
                    <a:pt x="35" y="127"/>
                    <a:pt x="34" y="127"/>
                  </a:cubicBezTo>
                  <a:cubicBezTo>
                    <a:pt x="34" y="150"/>
                    <a:pt x="34" y="150"/>
                    <a:pt x="34" y="150"/>
                  </a:cubicBezTo>
                  <a:cubicBezTo>
                    <a:pt x="39" y="150"/>
                    <a:pt x="44" y="147"/>
                    <a:pt x="45" y="142"/>
                  </a:cubicBezTo>
                  <a:cubicBezTo>
                    <a:pt x="47" y="136"/>
                    <a:pt x="43" y="129"/>
                    <a:pt x="37" y="128"/>
                  </a:cubicBezTo>
                  <a:close/>
                  <a:moveTo>
                    <a:pt x="34" y="118"/>
                  </a:moveTo>
                  <a:cubicBezTo>
                    <a:pt x="34" y="51"/>
                    <a:pt x="34" y="51"/>
                    <a:pt x="34" y="51"/>
                  </a:cubicBezTo>
                  <a:cubicBezTo>
                    <a:pt x="39" y="48"/>
                    <a:pt x="45" y="46"/>
                    <a:pt x="51" y="46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2" y="3"/>
                    <a:pt x="67" y="0"/>
                    <a:pt x="72" y="1"/>
                  </a:cubicBezTo>
                  <a:cubicBezTo>
                    <a:pt x="77" y="2"/>
                    <a:pt x="80" y="7"/>
                    <a:pt x="78" y="1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9" y="57"/>
                    <a:pt x="86" y="68"/>
                    <a:pt x="82" y="84"/>
                  </a:cubicBezTo>
                  <a:cubicBezTo>
                    <a:pt x="82" y="84"/>
                    <a:pt x="79" y="97"/>
                    <a:pt x="77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5" y="112"/>
                    <a:pt x="86" y="117"/>
                    <a:pt x="86" y="117"/>
                  </a:cubicBezTo>
                  <a:cubicBezTo>
                    <a:pt x="83" y="130"/>
                    <a:pt x="83" y="130"/>
                    <a:pt x="83" y="130"/>
                  </a:cubicBezTo>
                  <a:lnTo>
                    <a:pt x="34" y="118"/>
                  </a:lnTo>
                  <a:close/>
                  <a:moveTo>
                    <a:pt x="34" y="127"/>
                  </a:moveTo>
                  <a:cubicBezTo>
                    <a:pt x="29" y="127"/>
                    <a:pt x="24" y="131"/>
                    <a:pt x="23" y="136"/>
                  </a:cubicBezTo>
                  <a:cubicBezTo>
                    <a:pt x="21" y="142"/>
                    <a:pt x="25" y="148"/>
                    <a:pt x="31" y="150"/>
                  </a:cubicBezTo>
                  <a:cubicBezTo>
                    <a:pt x="32" y="150"/>
                    <a:pt x="33" y="150"/>
                    <a:pt x="34" y="150"/>
                  </a:cubicBezTo>
                  <a:cubicBezTo>
                    <a:pt x="34" y="127"/>
                    <a:pt x="34" y="127"/>
                    <a:pt x="34" y="127"/>
                  </a:cubicBezTo>
                  <a:close/>
                  <a:moveTo>
                    <a:pt x="34" y="51"/>
                  </a:moveTo>
                  <a:cubicBezTo>
                    <a:pt x="34" y="118"/>
                    <a:pt x="34" y="118"/>
                    <a:pt x="34" y="118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16" y="97"/>
                    <a:pt x="18" y="88"/>
                  </a:cubicBezTo>
                  <a:cubicBezTo>
                    <a:pt x="20" y="80"/>
                    <a:pt x="23" y="69"/>
                    <a:pt x="23" y="69"/>
                  </a:cubicBezTo>
                  <a:cubicBezTo>
                    <a:pt x="25" y="61"/>
                    <a:pt x="29" y="55"/>
                    <a:pt x="34" y="51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5" name="Freeform 74">
              <a:extLst>
                <a:ext uri="{FF2B5EF4-FFF2-40B4-BE49-F238E27FC236}">
                  <a16:creationId xmlns:a16="http://schemas.microsoft.com/office/drawing/2014/main" id="{E3445762-E15D-4737-8F74-462EA57752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6661" y="1852749"/>
              <a:ext cx="376140" cy="460255"/>
            </a:xfrm>
            <a:custGeom>
              <a:avLst/>
              <a:gdLst>
                <a:gd name="T0" fmla="*/ 172 w 172"/>
                <a:gd name="T1" fmla="*/ 9 h 211"/>
                <a:gd name="T2" fmla="*/ 121 w 172"/>
                <a:gd name="T3" fmla="*/ 37 h 211"/>
                <a:gd name="T4" fmla="*/ 143 w 172"/>
                <a:gd name="T5" fmla="*/ 211 h 211"/>
                <a:gd name="T6" fmla="*/ 124 w 172"/>
                <a:gd name="T7" fmla="*/ 165 h 211"/>
                <a:gd name="T8" fmla="*/ 131 w 172"/>
                <a:gd name="T9" fmla="*/ 108 h 211"/>
                <a:gd name="T10" fmla="*/ 121 w 172"/>
                <a:gd name="T11" fmla="*/ 86 h 211"/>
                <a:gd name="T12" fmla="*/ 129 w 172"/>
                <a:gd name="T13" fmla="*/ 146 h 211"/>
                <a:gd name="T14" fmla="*/ 127 w 172"/>
                <a:gd name="T15" fmla="*/ 116 h 211"/>
                <a:gd name="T16" fmla="*/ 121 w 172"/>
                <a:gd name="T17" fmla="*/ 156 h 211"/>
                <a:gd name="T18" fmla="*/ 121 w 172"/>
                <a:gd name="T19" fmla="*/ 9 h 211"/>
                <a:gd name="T20" fmla="*/ 98 w 172"/>
                <a:gd name="T21" fmla="*/ 37 h 211"/>
                <a:gd name="T22" fmla="*/ 110 w 172"/>
                <a:gd name="T23" fmla="*/ 88 h 211"/>
                <a:gd name="T24" fmla="*/ 100 w 172"/>
                <a:gd name="T25" fmla="*/ 81 h 211"/>
                <a:gd name="T26" fmla="*/ 121 w 172"/>
                <a:gd name="T27" fmla="*/ 211 h 211"/>
                <a:gd name="T28" fmla="*/ 101 w 172"/>
                <a:gd name="T29" fmla="*/ 163 h 211"/>
                <a:gd name="T30" fmla="*/ 121 w 172"/>
                <a:gd name="T31" fmla="*/ 211 h 211"/>
                <a:gd name="T32" fmla="*/ 113 w 172"/>
                <a:gd name="T33" fmla="*/ 148 h 211"/>
                <a:gd name="T34" fmla="*/ 121 w 172"/>
                <a:gd name="T35" fmla="*/ 156 h 211"/>
                <a:gd name="T36" fmla="*/ 98 w 172"/>
                <a:gd name="T37" fmla="*/ 0 h 211"/>
                <a:gd name="T38" fmla="*/ 71 w 172"/>
                <a:gd name="T39" fmla="*/ 0 h 211"/>
                <a:gd name="T40" fmla="*/ 98 w 172"/>
                <a:gd name="T41" fmla="*/ 80 h 211"/>
                <a:gd name="T42" fmla="*/ 71 w 172"/>
                <a:gd name="T43" fmla="*/ 37 h 211"/>
                <a:gd name="T44" fmla="*/ 71 w 172"/>
                <a:gd name="T45" fmla="*/ 166 h 211"/>
                <a:gd name="T46" fmla="*/ 98 w 172"/>
                <a:gd name="T47" fmla="*/ 141 h 211"/>
                <a:gd name="T48" fmla="*/ 98 w 172"/>
                <a:gd name="T49" fmla="*/ 160 h 211"/>
                <a:gd name="T50" fmla="*/ 74 w 172"/>
                <a:gd name="T51" fmla="*/ 124 h 211"/>
                <a:gd name="T52" fmla="*/ 71 w 172"/>
                <a:gd name="T53" fmla="*/ 118 h 211"/>
                <a:gd name="T54" fmla="*/ 71 w 172"/>
                <a:gd name="T55" fmla="*/ 98 h 211"/>
                <a:gd name="T56" fmla="*/ 71 w 172"/>
                <a:gd name="T57" fmla="*/ 0 h 211"/>
                <a:gd name="T58" fmla="*/ 60 w 172"/>
                <a:gd name="T59" fmla="*/ 0 h 211"/>
                <a:gd name="T60" fmla="*/ 71 w 172"/>
                <a:gd name="T61" fmla="*/ 88 h 211"/>
                <a:gd name="T62" fmla="*/ 60 w 172"/>
                <a:gd name="T63" fmla="*/ 37 h 211"/>
                <a:gd name="T64" fmla="*/ 60 w 172"/>
                <a:gd name="T65" fmla="*/ 120 h 211"/>
                <a:gd name="T66" fmla="*/ 65 w 172"/>
                <a:gd name="T67" fmla="*/ 166 h 211"/>
                <a:gd name="T68" fmla="*/ 71 w 172"/>
                <a:gd name="T69" fmla="*/ 98 h 211"/>
                <a:gd name="T70" fmla="*/ 71 w 172"/>
                <a:gd name="T71" fmla="*/ 98 h 211"/>
                <a:gd name="T72" fmla="*/ 60 w 172"/>
                <a:gd name="T73" fmla="*/ 9 h 211"/>
                <a:gd name="T74" fmla="*/ 12 w 172"/>
                <a:gd name="T75" fmla="*/ 23 h 211"/>
                <a:gd name="T76" fmla="*/ 60 w 172"/>
                <a:gd name="T77" fmla="*/ 100 h 211"/>
                <a:gd name="T78" fmla="*/ 28 w 172"/>
                <a:gd name="T79" fmla="*/ 118 h 211"/>
                <a:gd name="T80" fmla="*/ 29 w 172"/>
                <a:gd name="T81" fmla="*/ 134 h 211"/>
                <a:gd name="T82" fmla="*/ 34 w 172"/>
                <a:gd name="T83" fmla="*/ 127 h 211"/>
                <a:gd name="T84" fmla="*/ 47 w 172"/>
                <a:gd name="T85" fmla="*/ 120 h 211"/>
                <a:gd name="T86" fmla="*/ 36 w 172"/>
                <a:gd name="T87" fmla="*/ 178 h 211"/>
                <a:gd name="T88" fmla="*/ 45 w 172"/>
                <a:gd name="T89" fmla="*/ 163 h 211"/>
                <a:gd name="T90" fmla="*/ 60 w 172"/>
                <a:gd name="T91" fmla="*/ 211 h 211"/>
                <a:gd name="T92" fmla="*/ 0 w 172"/>
                <a:gd name="T93" fmla="*/ 29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211">
                  <a:moveTo>
                    <a:pt x="121" y="0"/>
                  </a:moveTo>
                  <a:cubicBezTo>
                    <a:pt x="172" y="0"/>
                    <a:pt x="172" y="0"/>
                    <a:pt x="172" y="0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1" y="0"/>
                    <a:pt x="121" y="0"/>
                    <a:pt x="121" y="0"/>
                  </a:cubicBezTo>
                  <a:close/>
                  <a:moveTo>
                    <a:pt x="121" y="37"/>
                  </a:moveTo>
                  <a:cubicBezTo>
                    <a:pt x="172" y="37"/>
                    <a:pt x="172" y="37"/>
                    <a:pt x="172" y="37"/>
                  </a:cubicBezTo>
                  <a:cubicBezTo>
                    <a:pt x="172" y="183"/>
                    <a:pt x="172" y="183"/>
                    <a:pt x="172" y="183"/>
                  </a:cubicBezTo>
                  <a:cubicBezTo>
                    <a:pt x="172" y="198"/>
                    <a:pt x="159" y="211"/>
                    <a:pt x="143" y="211"/>
                  </a:cubicBezTo>
                  <a:cubicBezTo>
                    <a:pt x="121" y="211"/>
                    <a:pt x="121" y="211"/>
                    <a:pt x="121" y="211"/>
                  </a:cubicBezTo>
                  <a:cubicBezTo>
                    <a:pt x="121" y="166"/>
                    <a:pt x="121" y="166"/>
                    <a:pt x="121" y="166"/>
                  </a:cubicBezTo>
                  <a:cubicBezTo>
                    <a:pt x="122" y="166"/>
                    <a:pt x="123" y="166"/>
                    <a:pt x="124" y="165"/>
                  </a:cubicBezTo>
                  <a:cubicBezTo>
                    <a:pt x="130" y="163"/>
                    <a:pt x="134" y="159"/>
                    <a:pt x="138" y="153"/>
                  </a:cubicBezTo>
                  <a:cubicBezTo>
                    <a:pt x="142" y="145"/>
                    <a:pt x="145" y="137"/>
                    <a:pt x="145" y="128"/>
                  </a:cubicBezTo>
                  <a:cubicBezTo>
                    <a:pt x="145" y="115"/>
                    <a:pt x="140" y="108"/>
                    <a:pt x="131" y="108"/>
                  </a:cubicBezTo>
                  <a:cubicBezTo>
                    <a:pt x="128" y="108"/>
                    <a:pt x="125" y="109"/>
                    <a:pt x="121" y="111"/>
                  </a:cubicBezTo>
                  <a:cubicBezTo>
                    <a:pt x="127" y="85"/>
                    <a:pt x="127" y="85"/>
                    <a:pt x="127" y="85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1" y="37"/>
                    <a:pt x="121" y="37"/>
                    <a:pt x="121" y="37"/>
                  </a:cubicBezTo>
                  <a:close/>
                  <a:moveTo>
                    <a:pt x="121" y="156"/>
                  </a:moveTo>
                  <a:cubicBezTo>
                    <a:pt x="123" y="155"/>
                    <a:pt x="126" y="152"/>
                    <a:pt x="129" y="146"/>
                  </a:cubicBezTo>
                  <a:cubicBezTo>
                    <a:pt x="131" y="140"/>
                    <a:pt x="133" y="134"/>
                    <a:pt x="133" y="129"/>
                  </a:cubicBezTo>
                  <a:cubicBezTo>
                    <a:pt x="133" y="123"/>
                    <a:pt x="132" y="119"/>
                    <a:pt x="129" y="117"/>
                  </a:cubicBezTo>
                  <a:cubicBezTo>
                    <a:pt x="129" y="117"/>
                    <a:pt x="128" y="116"/>
                    <a:pt x="127" y="116"/>
                  </a:cubicBezTo>
                  <a:cubicBezTo>
                    <a:pt x="126" y="116"/>
                    <a:pt x="124" y="117"/>
                    <a:pt x="123" y="117"/>
                  </a:cubicBezTo>
                  <a:cubicBezTo>
                    <a:pt x="122" y="117"/>
                    <a:pt x="121" y="117"/>
                    <a:pt x="121" y="118"/>
                  </a:cubicBezTo>
                  <a:lnTo>
                    <a:pt x="121" y="156"/>
                  </a:lnTo>
                  <a:close/>
                  <a:moveTo>
                    <a:pt x="98" y="0"/>
                  </a:moveTo>
                  <a:cubicBezTo>
                    <a:pt x="121" y="0"/>
                    <a:pt x="121" y="0"/>
                    <a:pt x="121" y="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0"/>
                    <a:pt x="98" y="0"/>
                    <a:pt x="98" y="0"/>
                  </a:cubicBezTo>
                  <a:close/>
                  <a:moveTo>
                    <a:pt x="98" y="37"/>
                  </a:moveTo>
                  <a:cubicBezTo>
                    <a:pt x="121" y="37"/>
                    <a:pt x="121" y="37"/>
                    <a:pt x="121" y="3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99" y="81"/>
                    <a:pt x="98" y="80"/>
                  </a:cubicBezTo>
                  <a:cubicBezTo>
                    <a:pt x="98" y="37"/>
                    <a:pt x="98" y="37"/>
                    <a:pt x="98" y="37"/>
                  </a:cubicBezTo>
                  <a:close/>
                  <a:moveTo>
                    <a:pt x="121" y="211"/>
                  </a:moveTo>
                  <a:cubicBezTo>
                    <a:pt x="98" y="211"/>
                    <a:pt x="98" y="211"/>
                    <a:pt x="98" y="211"/>
                  </a:cubicBezTo>
                  <a:cubicBezTo>
                    <a:pt x="98" y="160"/>
                    <a:pt x="98" y="160"/>
                    <a:pt x="98" y="160"/>
                  </a:cubicBezTo>
                  <a:cubicBezTo>
                    <a:pt x="99" y="161"/>
                    <a:pt x="100" y="162"/>
                    <a:pt x="101" y="163"/>
                  </a:cubicBezTo>
                  <a:cubicBezTo>
                    <a:pt x="103" y="166"/>
                    <a:pt x="107" y="167"/>
                    <a:pt x="112" y="167"/>
                  </a:cubicBezTo>
                  <a:cubicBezTo>
                    <a:pt x="115" y="167"/>
                    <a:pt x="118" y="167"/>
                    <a:pt x="121" y="166"/>
                  </a:cubicBezTo>
                  <a:cubicBezTo>
                    <a:pt x="121" y="211"/>
                    <a:pt x="121" y="211"/>
                    <a:pt x="121" y="211"/>
                  </a:cubicBezTo>
                  <a:close/>
                  <a:moveTo>
                    <a:pt x="121" y="118"/>
                  </a:moveTo>
                  <a:cubicBezTo>
                    <a:pt x="120" y="118"/>
                    <a:pt x="120" y="118"/>
                    <a:pt x="120" y="119"/>
                  </a:cubicBezTo>
                  <a:cubicBezTo>
                    <a:pt x="113" y="148"/>
                    <a:pt x="113" y="148"/>
                    <a:pt x="113" y="148"/>
                  </a:cubicBezTo>
                  <a:cubicBezTo>
                    <a:pt x="113" y="149"/>
                    <a:pt x="113" y="150"/>
                    <a:pt x="113" y="151"/>
                  </a:cubicBezTo>
                  <a:cubicBezTo>
                    <a:pt x="113" y="154"/>
                    <a:pt x="115" y="156"/>
                    <a:pt x="119" y="156"/>
                  </a:cubicBezTo>
                  <a:cubicBezTo>
                    <a:pt x="120" y="156"/>
                    <a:pt x="120" y="156"/>
                    <a:pt x="121" y="156"/>
                  </a:cubicBezTo>
                  <a:lnTo>
                    <a:pt x="121" y="118"/>
                  </a:lnTo>
                  <a:close/>
                  <a:moveTo>
                    <a:pt x="71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0"/>
                    <a:pt x="71" y="0"/>
                    <a:pt x="71" y="0"/>
                  </a:cubicBezTo>
                  <a:close/>
                  <a:moveTo>
                    <a:pt x="71" y="37"/>
                  </a:moveTo>
                  <a:cubicBezTo>
                    <a:pt x="98" y="37"/>
                    <a:pt x="98" y="37"/>
                    <a:pt x="98" y="37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6" y="80"/>
                    <a:pt x="94" y="80"/>
                    <a:pt x="91" y="80"/>
                  </a:cubicBezTo>
                  <a:cubicBezTo>
                    <a:pt x="85" y="80"/>
                    <a:pt x="78" y="83"/>
                    <a:pt x="71" y="88"/>
                  </a:cubicBezTo>
                  <a:cubicBezTo>
                    <a:pt x="71" y="37"/>
                    <a:pt x="71" y="37"/>
                    <a:pt x="71" y="37"/>
                  </a:cubicBezTo>
                  <a:close/>
                  <a:moveTo>
                    <a:pt x="98" y="211"/>
                  </a:moveTo>
                  <a:cubicBezTo>
                    <a:pt x="71" y="211"/>
                    <a:pt x="71" y="211"/>
                    <a:pt x="71" y="211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82" y="166"/>
                    <a:pt x="82" y="166"/>
                    <a:pt x="82" y="166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7" y="146"/>
                    <a:pt x="97" y="146"/>
                    <a:pt x="97" y="146"/>
                  </a:cubicBezTo>
                  <a:cubicBezTo>
                    <a:pt x="97" y="148"/>
                    <a:pt x="97" y="150"/>
                    <a:pt x="97" y="152"/>
                  </a:cubicBezTo>
                  <a:cubicBezTo>
                    <a:pt x="97" y="155"/>
                    <a:pt x="97" y="158"/>
                    <a:pt x="98" y="160"/>
                  </a:cubicBezTo>
                  <a:cubicBezTo>
                    <a:pt x="98" y="211"/>
                    <a:pt x="98" y="211"/>
                    <a:pt x="98" y="211"/>
                  </a:cubicBezTo>
                  <a:close/>
                  <a:moveTo>
                    <a:pt x="71" y="137"/>
                  </a:moveTo>
                  <a:cubicBezTo>
                    <a:pt x="74" y="124"/>
                    <a:pt x="74" y="124"/>
                    <a:pt x="74" y="124"/>
                  </a:cubicBezTo>
                  <a:cubicBezTo>
                    <a:pt x="73" y="124"/>
                    <a:pt x="72" y="124"/>
                    <a:pt x="71" y="123"/>
                  </a:cubicBezTo>
                  <a:cubicBezTo>
                    <a:pt x="71" y="137"/>
                    <a:pt x="71" y="137"/>
                    <a:pt x="71" y="137"/>
                  </a:cubicBezTo>
                  <a:close/>
                  <a:moveTo>
                    <a:pt x="71" y="118"/>
                  </a:moveTo>
                  <a:cubicBezTo>
                    <a:pt x="73" y="118"/>
                    <a:pt x="74" y="119"/>
                    <a:pt x="75" y="119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79" y="90"/>
                    <a:pt x="75" y="93"/>
                    <a:pt x="71" y="98"/>
                  </a:cubicBezTo>
                  <a:lnTo>
                    <a:pt x="71" y="118"/>
                  </a:lnTo>
                  <a:close/>
                  <a:moveTo>
                    <a:pt x="60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0"/>
                    <a:pt x="60" y="0"/>
                    <a:pt x="60" y="0"/>
                  </a:cubicBezTo>
                  <a:close/>
                  <a:moveTo>
                    <a:pt x="60" y="37"/>
                  </a:moveTo>
                  <a:cubicBezTo>
                    <a:pt x="71" y="37"/>
                    <a:pt x="71" y="37"/>
                    <a:pt x="71" y="37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71" y="89"/>
                    <a:pt x="71" y="89"/>
                    <a:pt x="71" y="89"/>
                  </a:cubicBezTo>
                  <a:cubicBezTo>
                    <a:pt x="67" y="92"/>
                    <a:pt x="64" y="96"/>
                    <a:pt x="60" y="100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71" y="211"/>
                  </a:moveTo>
                  <a:cubicBezTo>
                    <a:pt x="60" y="211"/>
                    <a:pt x="60" y="211"/>
                    <a:pt x="60" y="211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64" y="121"/>
                    <a:pt x="68" y="122"/>
                    <a:pt x="71" y="123"/>
                  </a:cubicBezTo>
                  <a:cubicBezTo>
                    <a:pt x="71" y="137"/>
                    <a:pt x="71" y="137"/>
                    <a:pt x="71" y="137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71" y="211"/>
                    <a:pt x="71" y="211"/>
                    <a:pt x="71" y="211"/>
                  </a:cubicBezTo>
                  <a:close/>
                  <a:moveTo>
                    <a:pt x="71" y="98"/>
                  </a:moveTo>
                  <a:cubicBezTo>
                    <a:pt x="68" y="102"/>
                    <a:pt x="65" y="108"/>
                    <a:pt x="61" y="115"/>
                  </a:cubicBezTo>
                  <a:cubicBezTo>
                    <a:pt x="65" y="116"/>
                    <a:pt x="68" y="117"/>
                    <a:pt x="71" y="118"/>
                  </a:cubicBezTo>
                  <a:lnTo>
                    <a:pt x="71" y="98"/>
                  </a:lnTo>
                  <a:close/>
                  <a:moveTo>
                    <a:pt x="29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18" y="9"/>
                    <a:pt x="12" y="15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30"/>
                    <a:pt x="18" y="37"/>
                    <a:pt x="26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57" y="104"/>
                    <a:pt x="54" y="109"/>
                    <a:pt x="51" y="114"/>
                  </a:cubicBezTo>
                  <a:cubicBezTo>
                    <a:pt x="48" y="114"/>
                    <a:pt x="46" y="113"/>
                    <a:pt x="45" y="113"/>
                  </a:cubicBezTo>
                  <a:cubicBezTo>
                    <a:pt x="38" y="113"/>
                    <a:pt x="32" y="115"/>
                    <a:pt x="28" y="118"/>
                  </a:cubicBezTo>
                  <a:cubicBezTo>
                    <a:pt x="23" y="120"/>
                    <a:pt x="21" y="124"/>
                    <a:pt x="21" y="128"/>
                  </a:cubicBezTo>
                  <a:cubicBezTo>
                    <a:pt x="21" y="130"/>
                    <a:pt x="22" y="131"/>
                    <a:pt x="23" y="133"/>
                  </a:cubicBezTo>
                  <a:cubicBezTo>
                    <a:pt x="24" y="134"/>
                    <a:pt x="26" y="134"/>
                    <a:pt x="29" y="134"/>
                  </a:cubicBezTo>
                  <a:cubicBezTo>
                    <a:pt x="30" y="134"/>
                    <a:pt x="31" y="134"/>
                    <a:pt x="33" y="133"/>
                  </a:cubicBezTo>
                  <a:cubicBezTo>
                    <a:pt x="34" y="132"/>
                    <a:pt x="35" y="131"/>
                    <a:pt x="35" y="130"/>
                  </a:cubicBezTo>
                  <a:cubicBezTo>
                    <a:pt x="35" y="129"/>
                    <a:pt x="34" y="128"/>
                    <a:pt x="34" y="127"/>
                  </a:cubicBezTo>
                  <a:cubicBezTo>
                    <a:pt x="34" y="127"/>
                    <a:pt x="33" y="126"/>
                    <a:pt x="33" y="126"/>
                  </a:cubicBezTo>
                  <a:cubicBezTo>
                    <a:pt x="34" y="124"/>
                    <a:pt x="35" y="123"/>
                    <a:pt x="38" y="122"/>
                  </a:cubicBezTo>
                  <a:cubicBezTo>
                    <a:pt x="40" y="121"/>
                    <a:pt x="43" y="120"/>
                    <a:pt x="47" y="120"/>
                  </a:cubicBezTo>
                  <a:cubicBezTo>
                    <a:pt x="44" y="125"/>
                    <a:pt x="42" y="129"/>
                    <a:pt x="40" y="134"/>
                  </a:cubicBezTo>
                  <a:cubicBezTo>
                    <a:pt x="33" y="148"/>
                    <a:pt x="30" y="159"/>
                    <a:pt x="30" y="167"/>
                  </a:cubicBezTo>
                  <a:cubicBezTo>
                    <a:pt x="30" y="173"/>
                    <a:pt x="32" y="176"/>
                    <a:pt x="36" y="178"/>
                  </a:cubicBezTo>
                  <a:cubicBezTo>
                    <a:pt x="37" y="179"/>
                    <a:pt x="41" y="180"/>
                    <a:pt x="45" y="180"/>
                  </a:cubicBezTo>
                  <a:cubicBezTo>
                    <a:pt x="44" y="178"/>
                    <a:pt x="44" y="176"/>
                    <a:pt x="44" y="173"/>
                  </a:cubicBezTo>
                  <a:cubicBezTo>
                    <a:pt x="44" y="170"/>
                    <a:pt x="44" y="167"/>
                    <a:pt x="45" y="163"/>
                  </a:cubicBezTo>
                  <a:cubicBezTo>
                    <a:pt x="47" y="150"/>
                    <a:pt x="52" y="136"/>
                    <a:pt x="59" y="120"/>
                  </a:cubicBezTo>
                  <a:cubicBezTo>
                    <a:pt x="59" y="120"/>
                    <a:pt x="60" y="120"/>
                    <a:pt x="60" y="120"/>
                  </a:cubicBezTo>
                  <a:cubicBezTo>
                    <a:pt x="60" y="211"/>
                    <a:pt x="60" y="211"/>
                    <a:pt x="60" y="211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13" y="211"/>
                    <a:pt x="0" y="198"/>
                    <a:pt x="0" y="18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6" name="Freeform 75">
              <a:extLst>
                <a:ext uri="{FF2B5EF4-FFF2-40B4-BE49-F238E27FC236}">
                  <a16:creationId xmlns:a16="http://schemas.microsoft.com/office/drawing/2014/main" id="{853A7058-E979-4425-A327-5E72629D42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0374" y="2336809"/>
              <a:ext cx="569764" cy="571351"/>
            </a:xfrm>
            <a:custGeom>
              <a:avLst/>
              <a:gdLst>
                <a:gd name="T0" fmla="*/ 249 w 261"/>
                <a:gd name="T1" fmla="*/ 220 h 262"/>
                <a:gd name="T2" fmla="*/ 261 w 261"/>
                <a:gd name="T3" fmla="*/ 70 h 262"/>
                <a:gd name="T4" fmla="*/ 249 w 261"/>
                <a:gd name="T5" fmla="*/ 70 h 262"/>
                <a:gd name="T6" fmla="*/ 249 w 261"/>
                <a:gd name="T7" fmla="*/ 154 h 262"/>
                <a:gd name="T8" fmla="*/ 227 w 261"/>
                <a:gd name="T9" fmla="*/ 180 h 262"/>
                <a:gd name="T10" fmla="*/ 209 w 261"/>
                <a:gd name="T11" fmla="*/ 262 h 262"/>
                <a:gd name="T12" fmla="*/ 209 w 261"/>
                <a:gd name="T13" fmla="*/ 262 h 262"/>
                <a:gd name="T14" fmla="*/ 209 w 261"/>
                <a:gd name="T15" fmla="*/ 15 h 262"/>
                <a:gd name="T16" fmla="*/ 203 w 261"/>
                <a:gd name="T17" fmla="*/ 28 h 262"/>
                <a:gd name="T18" fmla="*/ 209 w 261"/>
                <a:gd name="T19" fmla="*/ 50 h 262"/>
                <a:gd name="T20" fmla="*/ 201 w 261"/>
                <a:gd name="T21" fmla="*/ 120 h 262"/>
                <a:gd name="T22" fmla="*/ 209 w 261"/>
                <a:gd name="T23" fmla="*/ 197 h 262"/>
                <a:gd name="T24" fmla="*/ 209 w 261"/>
                <a:gd name="T25" fmla="*/ 197 h 262"/>
                <a:gd name="T26" fmla="*/ 195 w 261"/>
                <a:gd name="T27" fmla="*/ 232 h 262"/>
                <a:gd name="T28" fmla="*/ 168 w 261"/>
                <a:gd name="T29" fmla="*/ 36 h 262"/>
                <a:gd name="T30" fmla="*/ 195 w 261"/>
                <a:gd name="T31" fmla="*/ 20 h 262"/>
                <a:gd name="T32" fmla="*/ 195 w 261"/>
                <a:gd name="T33" fmla="*/ 50 h 262"/>
                <a:gd name="T34" fmla="*/ 195 w 261"/>
                <a:gd name="T35" fmla="*/ 120 h 262"/>
                <a:gd name="T36" fmla="*/ 168 w 261"/>
                <a:gd name="T37" fmla="*/ 220 h 262"/>
                <a:gd name="T38" fmla="*/ 192 w 261"/>
                <a:gd name="T39" fmla="*/ 249 h 262"/>
                <a:gd name="T40" fmla="*/ 168 w 261"/>
                <a:gd name="T41" fmla="*/ 21 h 262"/>
                <a:gd name="T42" fmla="*/ 168 w 261"/>
                <a:gd name="T43" fmla="*/ 44 h 262"/>
                <a:gd name="T44" fmla="*/ 135 w 261"/>
                <a:gd name="T45" fmla="*/ 120 h 262"/>
                <a:gd name="T46" fmla="*/ 167 w 261"/>
                <a:gd name="T47" fmla="*/ 198 h 262"/>
                <a:gd name="T48" fmla="*/ 167 w 261"/>
                <a:gd name="T49" fmla="*/ 167 h 262"/>
                <a:gd name="T50" fmla="*/ 130 w 261"/>
                <a:gd name="T51" fmla="*/ 147 h 262"/>
                <a:gd name="T52" fmla="*/ 93 w 261"/>
                <a:gd name="T53" fmla="*/ 44 h 262"/>
                <a:gd name="T54" fmla="*/ 130 w 261"/>
                <a:gd name="T55" fmla="*/ 0 h 262"/>
                <a:gd name="T56" fmla="*/ 126 w 261"/>
                <a:gd name="T57" fmla="*/ 120 h 262"/>
                <a:gd name="T58" fmla="*/ 130 w 261"/>
                <a:gd name="T59" fmla="*/ 159 h 262"/>
                <a:gd name="T60" fmla="*/ 130 w 261"/>
                <a:gd name="T61" fmla="*/ 179 h 262"/>
                <a:gd name="T62" fmla="*/ 130 w 261"/>
                <a:gd name="T63" fmla="*/ 198 h 262"/>
                <a:gd name="T64" fmla="*/ 93 w 261"/>
                <a:gd name="T65" fmla="*/ 3 h 262"/>
                <a:gd name="T66" fmla="*/ 93 w 261"/>
                <a:gd name="T67" fmla="*/ 36 h 262"/>
                <a:gd name="T68" fmla="*/ 67 w 261"/>
                <a:gd name="T69" fmla="*/ 20 h 262"/>
                <a:gd name="T70" fmla="*/ 67 w 261"/>
                <a:gd name="T71" fmla="*/ 70 h 262"/>
                <a:gd name="T72" fmla="*/ 92 w 261"/>
                <a:gd name="T73" fmla="*/ 147 h 262"/>
                <a:gd name="T74" fmla="*/ 92 w 261"/>
                <a:gd name="T75" fmla="*/ 179 h 262"/>
                <a:gd name="T76" fmla="*/ 93 w 261"/>
                <a:gd name="T77" fmla="*/ 198 h 262"/>
                <a:gd name="T78" fmla="*/ 67 w 261"/>
                <a:gd name="T79" fmla="*/ 171 h 262"/>
                <a:gd name="T80" fmla="*/ 69 w 261"/>
                <a:gd name="T81" fmla="*/ 232 h 262"/>
                <a:gd name="T82" fmla="*/ 58 w 261"/>
                <a:gd name="T83" fmla="*/ 28 h 262"/>
                <a:gd name="T84" fmla="*/ 67 w 261"/>
                <a:gd name="T85" fmla="*/ 9 h 262"/>
                <a:gd name="T86" fmla="*/ 67 w 261"/>
                <a:gd name="T87" fmla="*/ 120 h 262"/>
                <a:gd name="T88" fmla="*/ 67 w 261"/>
                <a:gd name="T89" fmla="*/ 188 h 262"/>
                <a:gd name="T90" fmla="*/ 67 w 261"/>
                <a:gd name="T91" fmla="*/ 232 h 262"/>
                <a:gd name="T92" fmla="*/ 67 w 261"/>
                <a:gd name="T93" fmla="*/ 232 h 262"/>
                <a:gd name="T94" fmla="*/ 52 w 261"/>
                <a:gd name="T95" fmla="*/ 50 h 262"/>
                <a:gd name="T96" fmla="*/ 12 w 261"/>
                <a:gd name="T97" fmla="*/ 220 h 262"/>
                <a:gd name="T98" fmla="*/ 52 w 261"/>
                <a:gd name="T99" fmla="*/ 232 h 262"/>
                <a:gd name="T100" fmla="*/ 52 w 261"/>
                <a:gd name="T101" fmla="*/ 232 h 262"/>
                <a:gd name="T102" fmla="*/ 12 w 261"/>
                <a:gd name="T103" fmla="*/ 114 h 262"/>
                <a:gd name="T104" fmla="*/ 0 w 261"/>
                <a:gd name="T105" fmla="*/ 104 h 262"/>
                <a:gd name="T106" fmla="*/ 12 w 261"/>
                <a:gd name="T107" fmla="*/ 15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1" h="262">
                  <a:moveTo>
                    <a:pt x="249" y="220"/>
                  </a:moveTo>
                  <a:cubicBezTo>
                    <a:pt x="249" y="154"/>
                    <a:pt x="249" y="154"/>
                    <a:pt x="249" y="154"/>
                  </a:cubicBezTo>
                  <a:cubicBezTo>
                    <a:pt x="251" y="157"/>
                    <a:pt x="252" y="160"/>
                    <a:pt x="252" y="164"/>
                  </a:cubicBezTo>
                  <a:cubicBezTo>
                    <a:pt x="252" y="220"/>
                    <a:pt x="252" y="220"/>
                    <a:pt x="252" y="220"/>
                  </a:cubicBezTo>
                  <a:cubicBezTo>
                    <a:pt x="249" y="220"/>
                    <a:pt x="249" y="220"/>
                    <a:pt x="249" y="220"/>
                  </a:cubicBezTo>
                  <a:close/>
                  <a:moveTo>
                    <a:pt x="249" y="114"/>
                  </a:moveTo>
                  <a:cubicBezTo>
                    <a:pt x="249" y="70"/>
                    <a:pt x="249" y="70"/>
                    <a:pt x="249" y="70"/>
                  </a:cubicBezTo>
                  <a:cubicBezTo>
                    <a:pt x="250" y="70"/>
                    <a:pt x="250" y="70"/>
                    <a:pt x="250" y="69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59" y="66"/>
                    <a:pt x="261" y="67"/>
                    <a:pt x="261" y="70"/>
                  </a:cubicBezTo>
                  <a:cubicBezTo>
                    <a:pt x="261" y="104"/>
                    <a:pt x="261" y="104"/>
                    <a:pt x="261" y="104"/>
                  </a:cubicBezTo>
                  <a:cubicBezTo>
                    <a:pt x="261" y="107"/>
                    <a:pt x="259" y="110"/>
                    <a:pt x="257" y="111"/>
                  </a:cubicBezTo>
                  <a:cubicBezTo>
                    <a:pt x="250" y="113"/>
                    <a:pt x="250" y="113"/>
                    <a:pt x="250" y="113"/>
                  </a:cubicBezTo>
                  <a:cubicBezTo>
                    <a:pt x="250" y="114"/>
                    <a:pt x="250" y="114"/>
                    <a:pt x="249" y="114"/>
                  </a:cubicBezTo>
                  <a:close/>
                  <a:moveTo>
                    <a:pt x="249" y="70"/>
                  </a:moveTo>
                  <a:cubicBezTo>
                    <a:pt x="249" y="114"/>
                    <a:pt x="249" y="114"/>
                    <a:pt x="249" y="114"/>
                  </a:cubicBezTo>
                  <a:cubicBezTo>
                    <a:pt x="248" y="114"/>
                    <a:pt x="246" y="112"/>
                    <a:pt x="246" y="110"/>
                  </a:cubicBezTo>
                  <a:cubicBezTo>
                    <a:pt x="246" y="76"/>
                    <a:pt x="246" y="76"/>
                    <a:pt x="246" y="76"/>
                  </a:cubicBezTo>
                  <a:cubicBezTo>
                    <a:pt x="246" y="74"/>
                    <a:pt x="248" y="71"/>
                    <a:pt x="249" y="70"/>
                  </a:cubicBezTo>
                  <a:close/>
                  <a:moveTo>
                    <a:pt x="249" y="154"/>
                  </a:moveTo>
                  <a:cubicBezTo>
                    <a:pt x="246" y="150"/>
                    <a:pt x="241" y="146"/>
                    <a:pt x="235" y="146"/>
                  </a:cubicBezTo>
                  <a:cubicBezTo>
                    <a:pt x="235" y="50"/>
                    <a:pt x="235" y="50"/>
                    <a:pt x="235" y="50"/>
                  </a:cubicBezTo>
                  <a:cubicBezTo>
                    <a:pt x="209" y="50"/>
                    <a:pt x="209" y="50"/>
                    <a:pt x="209" y="50"/>
                  </a:cubicBezTo>
                  <a:cubicBezTo>
                    <a:pt x="209" y="162"/>
                    <a:pt x="209" y="162"/>
                    <a:pt x="209" y="162"/>
                  </a:cubicBezTo>
                  <a:cubicBezTo>
                    <a:pt x="219" y="162"/>
                    <a:pt x="227" y="170"/>
                    <a:pt x="227" y="180"/>
                  </a:cubicBezTo>
                  <a:cubicBezTo>
                    <a:pt x="227" y="189"/>
                    <a:pt x="219" y="197"/>
                    <a:pt x="209" y="197"/>
                  </a:cubicBezTo>
                  <a:cubicBezTo>
                    <a:pt x="209" y="220"/>
                    <a:pt x="209" y="220"/>
                    <a:pt x="209" y="220"/>
                  </a:cubicBezTo>
                  <a:cubicBezTo>
                    <a:pt x="249" y="220"/>
                    <a:pt x="249" y="220"/>
                    <a:pt x="249" y="220"/>
                  </a:cubicBezTo>
                  <a:cubicBezTo>
                    <a:pt x="249" y="154"/>
                    <a:pt x="249" y="154"/>
                    <a:pt x="249" y="154"/>
                  </a:cubicBezTo>
                  <a:close/>
                  <a:moveTo>
                    <a:pt x="209" y="262"/>
                  </a:moveTo>
                  <a:cubicBezTo>
                    <a:pt x="209" y="232"/>
                    <a:pt x="209" y="232"/>
                    <a:pt x="209" y="232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6" y="257"/>
                    <a:pt x="220" y="262"/>
                    <a:pt x="213" y="262"/>
                  </a:cubicBezTo>
                  <a:cubicBezTo>
                    <a:pt x="209" y="262"/>
                    <a:pt x="209" y="262"/>
                    <a:pt x="209" y="262"/>
                  </a:cubicBezTo>
                  <a:close/>
                  <a:moveTo>
                    <a:pt x="209" y="44"/>
                  </a:moveTo>
                  <a:cubicBezTo>
                    <a:pt x="209" y="15"/>
                    <a:pt x="209" y="15"/>
                    <a:pt x="209" y="15"/>
                  </a:cubicBezTo>
                  <a:cubicBezTo>
                    <a:pt x="225" y="23"/>
                    <a:pt x="235" y="33"/>
                    <a:pt x="235" y="44"/>
                  </a:cubicBezTo>
                  <a:lnTo>
                    <a:pt x="209" y="44"/>
                  </a:lnTo>
                  <a:close/>
                  <a:moveTo>
                    <a:pt x="209" y="15"/>
                  </a:moveTo>
                  <a:cubicBezTo>
                    <a:pt x="209" y="44"/>
                    <a:pt x="209" y="44"/>
                    <a:pt x="209" y="44"/>
                  </a:cubicBezTo>
                  <a:cubicBezTo>
                    <a:pt x="195" y="44"/>
                    <a:pt x="195" y="44"/>
                    <a:pt x="195" y="44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199" y="37"/>
                    <a:pt x="203" y="33"/>
                    <a:pt x="203" y="28"/>
                  </a:cubicBezTo>
                  <a:cubicBezTo>
                    <a:pt x="203" y="24"/>
                    <a:pt x="199" y="20"/>
                    <a:pt x="195" y="2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200" y="11"/>
                    <a:pt x="205" y="13"/>
                    <a:pt x="209" y="15"/>
                  </a:cubicBezTo>
                  <a:close/>
                  <a:moveTo>
                    <a:pt x="209" y="50"/>
                  </a:moveTo>
                  <a:cubicBezTo>
                    <a:pt x="209" y="162"/>
                    <a:pt x="209" y="162"/>
                    <a:pt x="209" y="162"/>
                  </a:cubicBezTo>
                  <a:cubicBezTo>
                    <a:pt x="209" y="162"/>
                    <a:pt x="209" y="162"/>
                    <a:pt x="209" y="162"/>
                  </a:cubicBezTo>
                  <a:cubicBezTo>
                    <a:pt x="203" y="162"/>
                    <a:pt x="198" y="166"/>
                    <a:pt x="195" y="171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201" y="120"/>
                    <a:pt x="201" y="120"/>
                    <a:pt x="201" y="120"/>
                  </a:cubicBezTo>
                  <a:cubicBezTo>
                    <a:pt x="201" y="70"/>
                    <a:pt x="201" y="70"/>
                    <a:pt x="201" y="70"/>
                  </a:cubicBezTo>
                  <a:cubicBezTo>
                    <a:pt x="195" y="70"/>
                    <a:pt x="195" y="70"/>
                    <a:pt x="195" y="7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209" y="50"/>
                    <a:pt x="209" y="50"/>
                    <a:pt x="209" y="50"/>
                  </a:cubicBezTo>
                  <a:close/>
                  <a:moveTo>
                    <a:pt x="209" y="197"/>
                  </a:moveTo>
                  <a:cubicBezTo>
                    <a:pt x="209" y="220"/>
                    <a:pt x="209" y="220"/>
                    <a:pt x="209" y="220"/>
                  </a:cubicBezTo>
                  <a:cubicBezTo>
                    <a:pt x="195" y="220"/>
                    <a:pt x="195" y="220"/>
                    <a:pt x="195" y="220"/>
                  </a:cubicBezTo>
                  <a:cubicBezTo>
                    <a:pt x="195" y="188"/>
                    <a:pt x="195" y="188"/>
                    <a:pt x="195" y="188"/>
                  </a:cubicBezTo>
                  <a:cubicBezTo>
                    <a:pt x="198" y="193"/>
                    <a:pt x="203" y="197"/>
                    <a:pt x="209" y="197"/>
                  </a:cubicBezTo>
                  <a:cubicBezTo>
                    <a:pt x="209" y="197"/>
                    <a:pt x="209" y="197"/>
                    <a:pt x="209" y="197"/>
                  </a:cubicBezTo>
                  <a:close/>
                  <a:moveTo>
                    <a:pt x="209" y="232"/>
                  </a:moveTo>
                  <a:cubicBezTo>
                    <a:pt x="209" y="262"/>
                    <a:pt x="209" y="262"/>
                    <a:pt x="209" y="262"/>
                  </a:cubicBezTo>
                  <a:cubicBezTo>
                    <a:pt x="206" y="262"/>
                    <a:pt x="206" y="262"/>
                    <a:pt x="206" y="262"/>
                  </a:cubicBezTo>
                  <a:cubicBezTo>
                    <a:pt x="201" y="262"/>
                    <a:pt x="197" y="260"/>
                    <a:pt x="195" y="257"/>
                  </a:cubicBezTo>
                  <a:cubicBezTo>
                    <a:pt x="195" y="232"/>
                    <a:pt x="195" y="232"/>
                    <a:pt x="195" y="232"/>
                  </a:cubicBezTo>
                  <a:lnTo>
                    <a:pt x="209" y="232"/>
                  </a:lnTo>
                  <a:close/>
                  <a:moveTo>
                    <a:pt x="171" y="20"/>
                  </a:moveTo>
                  <a:cubicBezTo>
                    <a:pt x="175" y="20"/>
                    <a:pt x="179" y="24"/>
                    <a:pt x="179" y="28"/>
                  </a:cubicBezTo>
                  <a:cubicBezTo>
                    <a:pt x="179" y="33"/>
                    <a:pt x="175" y="37"/>
                    <a:pt x="171" y="37"/>
                  </a:cubicBezTo>
                  <a:cubicBezTo>
                    <a:pt x="170" y="37"/>
                    <a:pt x="169" y="37"/>
                    <a:pt x="168" y="36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95" y="44"/>
                    <a:pt x="195" y="44"/>
                    <a:pt x="195" y="44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190" y="37"/>
                    <a:pt x="186" y="33"/>
                    <a:pt x="186" y="28"/>
                  </a:cubicBezTo>
                  <a:cubicBezTo>
                    <a:pt x="186" y="24"/>
                    <a:pt x="190" y="20"/>
                    <a:pt x="195" y="20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187" y="6"/>
                    <a:pt x="178" y="4"/>
                    <a:pt x="168" y="3"/>
                  </a:cubicBezTo>
                  <a:cubicBezTo>
                    <a:pt x="168" y="21"/>
                    <a:pt x="168" y="21"/>
                    <a:pt x="168" y="21"/>
                  </a:cubicBezTo>
                  <a:cubicBezTo>
                    <a:pt x="169" y="20"/>
                    <a:pt x="170" y="20"/>
                    <a:pt x="171" y="20"/>
                  </a:cubicBezTo>
                  <a:close/>
                  <a:moveTo>
                    <a:pt x="195" y="50"/>
                  </a:moveTo>
                  <a:cubicBezTo>
                    <a:pt x="195" y="70"/>
                    <a:pt x="195" y="70"/>
                    <a:pt x="195" y="70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95" y="50"/>
                    <a:pt x="195" y="50"/>
                    <a:pt x="195" y="50"/>
                  </a:cubicBezTo>
                  <a:close/>
                  <a:moveTo>
                    <a:pt x="195" y="120"/>
                  </a:moveTo>
                  <a:cubicBezTo>
                    <a:pt x="195" y="171"/>
                    <a:pt x="195" y="171"/>
                    <a:pt x="195" y="171"/>
                  </a:cubicBezTo>
                  <a:cubicBezTo>
                    <a:pt x="193" y="173"/>
                    <a:pt x="192" y="176"/>
                    <a:pt x="192" y="180"/>
                  </a:cubicBezTo>
                  <a:cubicBezTo>
                    <a:pt x="192" y="183"/>
                    <a:pt x="193" y="186"/>
                    <a:pt x="195" y="188"/>
                  </a:cubicBezTo>
                  <a:cubicBezTo>
                    <a:pt x="195" y="220"/>
                    <a:pt x="195" y="220"/>
                    <a:pt x="195" y="220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68" y="120"/>
                    <a:pt x="168" y="120"/>
                    <a:pt x="168" y="120"/>
                  </a:cubicBezTo>
                  <a:cubicBezTo>
                    <a:pt x="195" y="120"/>
                    <a:pt x="195" y="120"/>
                    <a:pt x="195" y="120"/>
                  </a:cubicBezTo>
                  <a:close/>
                  <a:moveTo>
                    <a:pt x="195" y="232"/>
                  </a:moveTo>
                  <a:cubicBezTo>
                    <a:pt x="195" y="257"/>
                    <a:pt x="195" y="257"/>
                    <a:pt x="195" y="257"/>
                  </a:cubicBezTo>
                  <a:cubicBezTo>
                    <a:pt x="193" y="254"/>
                    <a:pt x="192" y="252"/>
                    <a:pt x="192" y="249"/>
                  </a:cubicBezTo>
                  <a:cubicBezTo>
                    <a:pt x="192" y="232"/>
                    <a:pt x="192" y="232"/>
                    <a:pt x="192" y="232"/>
                  </a:cubicBezTo>
                  <a:lnTo>
                    <a:pt x="195" y="232"/>
                  </a:lnTo>
                  <a:close/>
                  <a:moveTo>
                    <a:pt x="168" y="36"/>
                  </a:moveTo>
                  <a:cubicBezTo>
                    <a:pt x="165" y="35"/>
                    <a:pt x="162" y="32"/>
                    <a:pt x="162" y="28"/>
                  </a:cubicBezTo>
                  <a:cubicBezTo>
                    <a:pt x="162" y="25"/>
                    <a:pt x="165" y="22"/>
                    <a:pt x="168" y="21"/>
                  </a:cubicBezTo>
                  <a:cubicBezTo>
                    <a:pt x="168" y="3"/>
                    <a:pt x="168" y="3"/>
                    <a:pt x="168" y="3"/>
                  </a:cubicBezTo>
                  <a:cubicBezTo>
                    <a:pt x="157" y="1"/>
                    <a:pt x="144" y="0"/>
                    <a:pt x="131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8" y="36"/>
                    <a:pt x="168" y="36"/>
                    <a:pt x="168" y="36"/>
                  </a:cubicBezTo>
                  <a:close/>
                  <a:moveTo>
                    <a:pt x="168" y="50"/>
                  </a:moveTo>
                  <a:cubicBezTo>
                    <a:pt x="168" y="70"/>
                    <a:pt x="168" y="70"/>
                    <a:pt x="168" y="70"/>
                  </a:cubicBezTo>
                  <a:cubicBezTo>
                    <a:pt x="135" y="70"/>
                    <a:pt x="135" y="70"/>
                    <a:pt x="135" y="70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68" y="120"/>
                    <a:pt x="168" y="120"/>
                    <a:pt x="168" y="120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30" y="220"/>
                    <a:pt x="130" y="220"/>
                    <a:pt x="130" y="220"/>
                  </a:cubicBezTo>
                  <a:cubicBezTo>
                    <a:pt x="130" y="198"/>
                    <a:pt x="130" y="198"/>
                    <a:pt x="130" y="198"/>
                  </a:cubicBezTo>
                  <a:cubicBezTo>
                    <a:pt x="167" y="198"/>
                    <a:pt x="167" y="198"/>
                    <a:pt x="167" y="198"/>
                  </a:cubicBezTo>
                  <a:cubicBezTo>
                    <a:pt x="167" y="187"/>
                    <a:pt x="167" y="187"/>
                    <a:pt x="167" y="187"/>
                  </a:cubicBezTo>
                  <a:cubicBezTo>
                    <a:pt x="130" y="187"/>
                    <a:pt x="130" y="187"/>
                    <a:pt x="130" y="187"/>
                  </a:cubicBezTo>
                  <a:cubicBezTo>
                    <a:pt x="130" y="179"/>
                    <a:pt x="130" y="179"/>
                    <a:pt x="130" y="179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7" y="167"/>
                    <a:pt x="167" y="167"/>
                    <a:pt x="167" y="167"/>
                  </a:cubicBezTo>
                  <a:cubicBezTo>
                    <a:pt x="130" y="167"/>
                    <a:pt x="130" y="167"/>
                    <a:pt x="130" y="167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67" y="159"/>
                    <a:pt x="167" y="159"/>
                    <a:pt x="167" y="159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50"/>
                    <a:pt x="130" y="50"/>
                    <a:pt x="130" y="50"/>
                  </a:cubicBezTo>
                  <a:lnTo>
                    <a:pt x="168" y="50"/>
                  </a:lnTo>
                  <a:close/>
                  <a:moveTo>
                    <a:pt x="130" y="0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6" y="35"/>
                    <a:pt x="99" y="32"/>
                    <a:pt x="99" y="28"/>
                  </a:cubicBezTo>
                  <a:cubicBezTo>
                    <a:pt x="99" y="25"/>
                    <a:pt x="96" y="22"/>
                    <a:pt x="93" y="21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104" y="1"/>
                    <a:pt x="117" y="0"/>
                    <a:pt x="130" y="0"/>
                  </a:cubicBezTo>
                  <a:close/>
                  <a:moveTo>
                    <a:pt x="130" y="50"/>
                  </a:moveTo>
                  <a:cubicBezTo>
                    <a:pt x="130" y="147"/>
                    <a:pt x="130" y="147"/>
                    <a:pt x="130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126" y="120"/>
                    <a:pt x="126" y="120"/>
                    <a:pt x="126" y="120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130" y="50"/>
                    <a:pt x="130" y="50"/>
                    <a:pt x="130" y="50"/>
                  </a:cubicBezTo>
                  <a:close/>
                  <a:moveTo>
                    <a:pt x="130" y="159"/>
                  </a:moveTo>
                  <a:cubicBezTo>
                    <a:pt x="130" y="167"/>
                    <a:pt x="130" y="167"/>
                    <a:pt x="130" y="167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3" y="159"/>
                    <a:pt x="93" y="159"/>
                    <a:pt x="93" y="159"/>
                  </a:cubicBezTo>
                  <a:cubicBezTo>
                    <a:pt x="130" y="159"/>
                    <a:pt x="130" y="159"/>
                    <a:pt x="130" y="159"/>
                  </a:cubicBezTo>
                  <a:close/>
                  <a:moveTo>
                    <a:pt x="130" y="179"/>
                  </a:moveTo>
                  <a:cubicBezTo>
                    <a:pt x="130" y="187"/>
                    <a:pt x="130" y="187"/>
                    <a:pt x="130" y="187"/>
                  </a:cubicBezTo>
                  <a:cubicBezTo>
                    <a:pt x="93" y="187"/>
                    <a:pt x="93" y="187"/>
                    <a:pt x="93" y="187"/>
                  </a:cubicBezTo>
                  <a:cubicBezTo>
                    <a:pt x="93" y="179"/>
                    <a:pt x="93" y="179"/>
                    <a:pt x="93" y="179"/>
                  </a:cubicBezTo>
                  <a:cubicBezTo>
                    <a:pt x="130" y="179"/>
                    <a:pt x="130" y="179"/>
                    <a:pt x="130" y="179"/>
                  </a:cubicBezTo>
                  <a:close/>
                  <a:moveTo>
                    <a:pt x="130" y="198"/>
                  </a:moveTo>
                  <a:cubicBezTo>
                    <a:pt x="130" y="220"/>
                    <a:pt x="130" y="220"/>
                    <a:pt x="130" y="220"/>
                  </a:cubicBezTo>
                  <a:cubicBezTo>
                    <a:pt x="93" y="220"/>
                    <a:pt x="93" y="220"/>
                    <a:pt x="93" y="220"/>
                  </a:cubicBezTo>
                  <a:cubicBezTo>
                    <a:pt x="93" y="198"/>
                    <a:pt x="93" y="198"/>
                    <a:pt x="93" y="198"/>
                  </a:cubicBezTo>
                  <a:lnTo>
                    <a:pt x="130" y="198"/>
                  </a:lnTo>
                  <a:close/>
                  <a:moveTo>
                    <a:pt x="93" y="3"/>
                  </a:moveTo>
                  <a:cubicBezTo>
                    <a:pt x="93" y="21"/>
                    <a:pt x="93" y="21"/>
                    <a:pt x="93" y="21"/>
                  </a:cubicBezTo>
                  <a:cubicBezTo>
                    <a:pt x="92" y="20"/>
                    <a:pt x="92" y="20"/>
                    <a:pt x="91" y="20"/>
                  </a:cubicBezTo>
                  <a:cubicBezTo>
                    <a:pt x="86" y="20"/>
                    <a:pt x="83" y="24"/>
                    <a:pt x="83" y="28"/>
                  </a:cubicBezTo>
                  <a:cubicBezTo>
                    <a:pt x="83" y="33"/>
                    <a:pt x="86" y="37"/>
                    <a:pt x="91" y="37"/>
                  </a:cubicBezTo>
                  <a:cubicBezTo>
                    <a:pt x="92" y="37"/>
                    <a:pt x="92" y="37"/>
                    <a:pt x="93" y="36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71" y="37"/>
                    <a:pt x="75" y="33"/>
                    <a:pt x="75" y="28"/>
                  </a:cubicBezTo>
                  <a:cubicBezTo>
                    <a:pt x="75" y="24"/>
                    <a:pt x="71" y="20"/>
                    <a:pt x="67" y="2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5" y="6"/>
                    <a:pt x="84" y="4"/>
                    <a:pt x="93" y="3"/>
                  </a:cubicBezTo>
                  <a:close/>
                  <a:moveTo>
                    <a:pt x="93" y="50"/>
                  </a:moveTo>
                  <a:cubicBezTo>
                    <a:pt x="93" y="70"/>
                    <a:pt x="93" y="70"/>
                    <a:pt x="93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93" y="50"/>
                    <a:pt x="93" y="50"/>
                    <a:pt x="93" y="50"/>
                  </a:cubicBezTo>
                  <a:close/>
                  <a:moveTo>
                    <a:pt x="93" y="120"/>
                  </a:moveTo>
                  <a:cubicBezTo>
                    <a:pt x="93" y="147"/>
                    <a:pt x="93" y="147"/>
                    <a:pt x="93" y="14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3" y="159"/>
                    <a:pt x="93" y="159"/>
                    <a:pt x="93" y="159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2" y="167"/>
                    <a:pt x="92" y="167"/>
                    <a:pt x="92" y="167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3" y="179"/>
                    <a:pt x="93" y="179"/>
                    <a:pt x="93" y="179"/>
                  </a:cubicBezTo>
                  <a:cubicBezTo>
                    <a:pt x="93" y="187"/>
                    <a:pt x="93" y="187"/>
                    <a:pt x="93" y="187"/>
                  </a:cubicBezTo>
                  <a:cubicBezTo>
                    <a:pt x="92" y="187"/>
                    <a:pt x="92" y="187"/>
                    <a:pt x="92" y="187"/>
                  </a:cubicBezTo>
                  <a:cubicBezTo>
                    <a:pt x="92" y="198"/>
                    <a:pt x="92" y="198"/>
                    <a:pt x="92" y="198"/>
                  </a:cubicBezTo>
                  <a:cubicBezTo>
                    <a:pt x="93" y="198"/>
                    <a:pt x="93" y="198"/>
                    <a:pt x="93" y="198"/>
                  </a:cubicBezTo>
                  <a:cubicBezTo>
                    <a:pt x="93" y="220"/>
                    <a:pt x="93" y="220"/>
                    <a:pt x="93" y="220"/>
                  </a:cubicBezTo>
                  <a:cubicBezTo>
                    <a:pt x="67" y="220"/>
                    <a:pt x="67" y="220"/>
                    <a:pt x="67" y="220"/>
                  </a:cubicBezTo>
                  <a:cubicBezTo>
                    <a:pt x="67" y="188"/>
                    <a:pt x="67" y="188"/>
                    <a:pt x="67" y="188"/>
                  </a:cubicBezTo>
                  <a:cubicBezTo>
                    <a:pt x="68" y="186"/>
                    <a:pt x="69" y="183"/>
                    <a:pt x="69" y="180"/>
                  </a:cubicBezTo>
                  <a:cubicBezTo>
                    <a:pt x="69" y="176"/>
                    <a:pt x="68" y="173"/>
                    <a:pt x="67" y="171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93" y="120"/>
                    <a:pt x="93" y="120"/>
                    <a:pt x="93" y="120"/>
                  </a:cubicBezTo>
                  <a:close/>
                  <a:moveTo>
                    <a:pt x="67" y="257"/>
                  </a:moveTo>
                  <a:cubicBezTo>
                    <a:pt x="67" y="232"/>
                    <a:pt x="67" y="232"/>
                    <a:pt x="67" y="232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69" y="249"/>
                    <a:pt x="69" y="249"/>
                    <a:pt x="69" y="249"/>
                  </a:cubicBezTo>
                  <a:cubicBezTo>
                    <a:pt x="69" y="252"/>
                    <a:pt x="68" y="254"/>
                    <a:pt x="67" y="257"/>
                  </a:cubicBezTo>
                  <a:close/>
                  <a:moveTo>
                    <a:pt x="67" y="9"/>
                  </a:moveTo>
                  <a:cubicBezTo>
                    <a:pt x="67" y="20"/>
                    <a:pt x="67" y="20"/>
                    <a:pt x="67" y="20"/>
                  </a:cubicBezTo>
                  <a:cubicBezTo>
                    <a:pt x="62" y="20"/>
                    <a:pt x="58" y="24"/>
                    <a:pt x="58" y="28"/>
                  </a:cubicBezTo>
                  <a:cubicBezTo>
                    <a:pt x="58" y="33"/>
                    <a:pt x="62" y="37"/>
                    <a:pt x="67" y="37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6" y="13"/>
                    <a:pt x="61" y="11"/>
                    <a:pt x="67" y="9"/>
                  </a:cubicBezTo>
                  <a:close/>
                  <a:moveTo>
                    <a:pt x="67" y="50"/>
                  </a:moveTo>
                  <a:cubicBezTo>
                    <a:pt x="67" y="70"/>
                    <a:pt x="67" y="70"/>
                    <a:pt x="67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64" y="166"/>
                    <a:pt x="58" y="162"/>
                    <a:pt x="52" y="162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67" y="188"/>
                  </a:moveTo>
                  <a:cubicBezTo>
                    <a:pt x="67" y="220"/>
                    <a:pt x="67" y="220"/>
                    <a:pt x="67" y="220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2" y="197"/>
                    <a:pt x="52" y="197"/>
                    <a:pt x="52" y="197"/>
                  </a:cubicBezTo>
                  <a:cubicBezTo>
                    <a:pt x="58" y="197"/>
                    <a:pt x="64" y="193"/>
                    <a:pt x="67" y="188"/>
                  </a:cubicBezTo>
                  <a:close/>
                  <a:moveTo>
                    <a:pt x="67" y="232"/>
                  </a:moveTo>
                  <a:cubicBezTo>
                    <a:pt x="67" y="257"/>
                    <a:pt x="67" y="257"/>
                    <a:pt x="67" y="257"/>
                  </a:cubicBezTo>
                  <a:cubicBezTo>
                    <a:pt x="64" y="260"/>
                    <a:pt x="60" y="262"/>
                    <a:pt x="56" y="262"/>
                  </a:cubicBezTo>
                  <a:cubicBezTo>
                    <a:pt x="52" y="262"/>
                    <a:pt x="52" y="262"/>
                    <a:pt x="52" y="262"/>
                  </a:cubicBezTo>
                  <a:cubicBezTo>
                    <a:pt x="52" y="232"/>
                    <a:pt x="52" y="232"/>
                    <a:pt x="52" y="232"/>
                  </a:cubicBezTo>
                  <a:lnTo>
                    <a:pt x="67" y="232"/>
                  </a:lnTo>
                  <a:close/>
                  <a:moveTo>
                    <a:pt x="52" y="15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33"/>
                    <a:pt x="36" y="23"/>
                    <a:pt x="52" y="15"/>
                  </a:cubicBezTo>
                  <a:close/>
                  <a:moveTo>
                    <a:pt x="52" y="50"/>
                  </a:moveTo>
                  <a:cubicBezTo>
                    <a:pt x="52" y="162"/>
                    <a:pt x="52" y="162"/>
                    <a:pt x="52" y="162"/>
                  </a:cubicBezTo>
                  <a:cubicBezTo>
                    <a:pt x="42" y="162"/>
                    <a:pt x="35" y="170"/>
                    <a:pt x="35" y="180"/>
                  </a:cubicBezTo>
                  <a:cubicBezTo>
                    <a:pt x="35" y="189"/>
                    <a:pt x="42" y="197"/>
                    <a:pt x="52" y="197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12" y="220"/>
                    <a:pt x="12" y="220"/>
                    <a:pt x="12" y="22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5" y="150"/>
                    <a:pt x="21" y="146"/>
                    <a:pt x="27" y="146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52" y="232"/>
                  </a:moveTo>
                  <a:cubicBezTo>
                    <a:pt x="52" y="262"/>
                    <a:pt x="52" y="262"/>
                    <a:pt x="52" y="262"/>
                  </a:cubicBezTo>
                  <a:cubicBezTo>
                    <a:pt x="48" y="262"/>
                    <a:pt x="48" y="262"/>
                    <a:pt x="48" y="262"/>
                  </a:cubicBezTo>
                  <a:cubicBezTo>
                    <a:pt x="41" y="262"/>
                    <a:pt x="35" y="257"/>
                    <a:pt x="35" y="249"/>
                  </a:cubicBezTo>
                  <a:cubicBezTo>
                    <a:pt x="35" y="232"/>
                    <a:pt x="35" y="232"/>
                    <a:pt x="35" y="232"/>
                  </a:cubicBezTo>
                  <a:cubicBezTo>
                    <a:pt x="52" y="232"/>
                    <a:pt x="52" y="232"/>
                    <a:pt x="52" y="232"/>
                  </a:cubicBezTo>
                  <a:close/>
                  <a:moveTo>
                    <a:pt x="12" y="114"/>
                  </a:moveTo>
                  <a:cubicBezTo>
                    <a:pt x="14" y="114"/>
                    <a:pt x="15" y="112"/>
                    <a:pt x="15" y="11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5" y="74"/>
                    <a:pt x="14" y="71"/>
                    <a:pt x="12" y="70"/>
                  </a:cubicBezTo>
                  <a:lnTo>
                    <a:pt x="12" y="114"/>
                  </a:lnTo>
                  <a:close/>
                  <a:moveTo>
                    <a:pt x="12" y="70"/>
                  </a:move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1" y="114"/>
                    <a:pt x="11" y="113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2" y="110"/>
                    <a:pt x="0" y="107"/>
                    <a:pt x="0" y="104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7"/>
                    <a:pt x="2" y="66"/>
                    <a:pt x="4" y="67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70"/>
                    <a:pt x="12" y="70"/>
                    <a:pt x="12" y="70"/>
                  </a:cubicBezTo>
                  <a:close/>
                  <a:moveTo>
                    <a:pt x="12" y="154"/>
                  </a:moveTo>
                  <a:cubicBezTo>
                    <a:pt x="12" y="220"/>
                    <a:pt x="12" y="220"/>
                    <a:pt x="12" y="220"/>
                  </a:cubicBezTo>
                  <a:cubicBezTo>
                    <a:pt x="9" y="220"/>
                    <a:pt x="9" y="220"/>
                    <a:pt x="9" y="220"/>
                  </a:cubicBezTo>
                  <a:cubicBezTo>
                    <a:pt x="9" y="164"/>
                    <a:pt x="9" y="164"/>
                    <a:pt x="9" y="164"/>
                  </a:cubicBezTo>
                  <a:cubicBezTo>
                    <a:pt x="9" y="160"/>
                    <a:pt x="10" y="157"/>
                    <a:pt x="12" y="154"/>
                  </a:cubicBez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7" name="Freeform 76">
              <a:extLst>
                <a:ext uri="{FF2B5EF4-FFF2-40B4-BE49-F238E27FC236}">
                  <a16:creationId xmlns:a16="http://schemas.microsoft.com/office/drawing/2014/main" id="{C5BCD420-9CA5-44DF-9360-652B3F20E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2195" y="3073218"/>
              <a:ext cx="642771" cy="487236"/>
            </a:xfrm>
            <a:custGeom>
              <a:avLst/>
              <a:gdLst>
                <a:gd name="T0" fmla="*/ 271 w 295"/>
                <a:gd name="T1" fmla="*/ 0 h 224"/>
                <a:gd name="T2" fmla="*/ 277 w 295"/>
                <a:gd name="T3" fmla="*/ 35 h 224"/>
                <a:gd name="T4" fmla="*/ 224 w 295"/>
                <a:gd name="T5" fmla="*/ 224 h 224"/>
                <a:gd name="T6" fmla="*/ 248 w 295"/>
                <a:gd name="T7" fmla="*/ 188 h 224"/>
                <a:gd name="T8" fmla="*/ 249 w 295"/>
                <a:gd name="T9" fmla="*/ 29 h 224"/>
                <a:gd name="T10" fmla="*/ 224 w 295"/>
                <a:gd name="T11" fmla="*/ 194 h 224"/>
                <a:gd name="T12" fmla="*/ 224 w 295"/>
                <a:gd name="T13" fmla="*/ 16 h 224"/>
                <a:gd name="T14" fmla="*/ 224 w 295"/>
                <a:gd name="T15" fmla="*/ 208 h 224"/>
                <a:gd name="T16" fmla="*/ 224 w 295"/>
                <a:gd name="T17" fmla="*/ 179 h 224"/>
                <a:gd name="T18" fmla="*/ 224 w 295"/>
                <a:gd name="T19" fmla="*/ 194 h 224"/>
                <a:gd name="T20" fmla="*/ 201 w 295"/>
                <a:gd name="T21" fmla="*/ 128 h 224"/>
                <a:gd name="T22" fmla="*/ 203 w 295"/>
                <a:gd name="T23" fmla="*/ 98 h 224"/>
                <a:gd name="T24" fmla="*/ 195 w 295"/>
                <a:gd name="T25" fmla="*/ 67 h 224"/>
                <a:gd name="T26" fmla="*/ 187 w 295"/>
                <a:gd name="T27" fmla="*/ 128 h 224"/>
                <a:gd name="T28" fmla="*/ 187 w 295"/>
                <a:gd name="T29" fmla="*/ 100 h 224"/>
                <a:gd name="T30" fmla="*/ 190 w 295"/>
                <a:gd name="T31" fmla="*/ 75 h 224"/>
                <a:gd name="T32" fmla="*/ 187 w 295"/>
                <a:gd name="T33" fmla="*/ 0 h 224"/>
                <a:gd name="T34" fmla="*/ 187 w 295"/>
                <a:gd name="T35" fmla="*/ 0 h 224"/>
                <a:gd name="T36" fmla="*/ 147 w 295"/>
                <a:gd name="T37" fmla="*/ 208 h 224"/>
                <a:gd name="T38" fmla="*/ 182 w 295"/>
                <a:gd name="T39" fmla="*/ 67 h 224"/>
                <a:gd name="T40" fmla="*/ 168 w 295"/>
                <a:gd name="T41" fmla="*/ 109 h 224"/>
                <a:gd name="T42" fmla="*/ 187 w 295"/>
                <a:gd name="T43" fmla="*/ 194 h 224"/>
                <a:gd name="T44" fmla="*/ 148 w 295"/>
                <a:gd name="T45" fmla="*/ 125 h 224"/>
                <a:gd name="T46" fmla="*/ 147 w 295"/>
                <a:gd name="T47" fmla="*/ 106 h 224"/>
                <a:gd name="T48" fmla="*/ 184 w 295"/>
                <a:gd name="T49" fmla="*/ 70 h 224"/>
                <a:gd name="T50" fmla="*/ 187 w 295"/>
                <a:gd name="T51" fmla="*/ 91 h 224"/>
                <a:gd name="T52" fmla="*/ 179 w 295"/>
                <a:gd name="T53" fmla="*/ 116 h 224"/>
                <a:gd name="T54" fmla="*/ 187 w 295"/>
                <a:gd name="T55" fmla="*/ 100 h 224"/>
                <a:gd name="T56" fmla="*/ 147 w 295"/>
                <a:gd name="T57" fmla="*/ 16 h 224"/>
                <a:gd name="T58" fmla="*/ 147 w 295"/>
                <a:gd name="T59" fmla="*/ 208 h 224"/>
                <a:gd name="T60" fmla="*/ 147 w 295"/>
                <a:gd name="T61" fmla="*/ 106 h 224"/>
                <a:gd name="T62" fmla="*/ 127 w 295"/>
                <a:gd name="T63" fmla="*/ 121 h 224"/>
                <a:gd name="T64" fmla="*/ 147 w 295"/>
                <a:gd name="T65" fmla="*/ 137 h 224"/>
                <a:gd name="T66" fmla="*/ 102 w 295"/>
                <a:gd name="T67" fmla="*/ 156 h 224"/>
                <a:gd name="T68" fmla="*/ 109 w 295"/>
                <a:gd name="T69" fmla="*/ 113 h 224"/>
                <a:gd name="T70" fmla="*/ 100 w 295"/>
                <a:gd name="T71" fmla="*/ 93 h 224"/>
                <a:gd name="T72" fmla="*/ 111 w 295"/>
                <a:gd name="T73" fmla="*/ 97 h 224"/>
                <a:gd name="T74" fmla="*/ 99 w 295"/>
                <a:gd name="T75" fmla="*/ 88 h 224"/>
                <a:gd name="T76" fmla="*/ 101 w 295"/>
                <a:gd name="T77" fmla="*/ 150 h 224"/>
                <a:gd name="T78" fmla="*/ 99 w 295"/>
                <a:gd name="T79" fmla="*/ 123 h 224"/>
                <a:gd name="T80" fmla="*/ 0 w 295"/>
                <a:gd name="T81" fmla="*/ 23 h 224"/>
                <a:gd name="T82" fmla="*/ 99 w 295"/>
                <a:gd name="T83" fmla="*/ 208 h 224"/>
                <a:gd name="T84" fmla="*/ 17 w 295"/>
                <a:gd name="T85" fmla="*/ 35 h 224"/>
                <a:gd name="T86" fmla="*/ 99 w 295"/>
                <a:gd name="T87" fmla="*/ 29 h 224"/>
                <a:gd name="T88" fmla="*/ 79 w 295"/>
                <a:gd name="T89" fmla="*/ 129 h 224"/>
                <a:gd name="T90" fmla="*/ 99 w 295"/>
                <a:gd name="T91" fmla="*/ 157 h 224"/>
                <a:gd name="T92" fmla="*/ 30 w 295"/>
                <a:gd name="T93" fmla="*/ 45 h 224"/>
                <a:gd name="T94" fmla="*/ 99 w 295"/>
                <a:gd name="T95" fmla="*/ 115 h 224"/>
                <a:gd name="T96" fmla="*/ 99 w 295"/>
                <a:gd name="T97" fmla="*/ 123 h 224"/>
                <a:gd name="T98" fmla="*/ 91 w 295"/>
                <a:gd name="T99" fmla="*/ 1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" h="224">
                  <a:moveTo>
                    <a:pt x="271" y="224"/>
                  </a:moveTo>
                  <a:cubicBezTo>
                    <a:pt x="284" y="224"/>
                    <a:pt x="295" y="213"/>
                    <a:pt x="295" y="200"/>
                  </a:cubicBezTo>
                  <a:cubicBezTo>
                    <a:pt x="295" y="23"/>
                    <a:pt x="295" y="23"/>
                    <a:pt x="295" y="23"/>
                  </a:cubicBezTo>
                  <a:cubicBezTo>
                    <a:pt x="295" y="10"/>
                    <a:pt x="284" y="0"/>
                    <a:pt x="271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4" y="16"/>
                    <a:pt x="224" y="16"/>
                    <a:pt x="224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8" y="16"/>
                    <a:pt x="277" y="24"/>
                    <a:pt x="277" y="35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77" y="199"/>
                    <a:pt x="268" y="208"/>
                    <a:pt x="258" y="208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71" y="224"/>
                    <a:pt x="271" y="224"/>
                    <a:pt x="271" y="224"/>
                  </a:cubicBezTo>
                  <a:close/>
                  <a:moveTo>
                    <a:pt x="224" y="194"/>
                  </a:moveTo>
                  <a:cubicBezTo>
                    <a:pt x="224" y="188"/>
                    <a:pt x="224" y="188"/>
                    <a:pt x="224" y="188"/>
                  </a:cubicBezTo>
                  <a:cubicBezTo>
                    <a:pt x="248" y="188"/>
                    <a:pt x="248" y="188"/>
                    <a:pt x="248" y="188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24" y="179"/>
                    <a:pt x="224" y="179"/>
                    <a:pt x="224" y="179"/>
                  </a:cubicBezTo>
                  <a:cubicBezTo>
                    <a:pt x="224" y="29"/>
                    <a:pt x="224" y="29"/>
                    <a:pt x="224" y="29"/>
                  </a:cubicBezTo>
                  <a:cubicBezTo>
                    <a:pt x="249" y="29"/>
                    <a:pt x="249" y="29"/>
                    <a:pt x="249" y="29"/>
                  </a:cubicBezTo>
                  <a:cubicBezTo>
                    <a:pt x="257" y="29"/>
                    <a:pt x="264" y="36"/>
                    <a:pt x="264" y="45"/>
                  </a:cubicBezTo>
                  <a:cubicBezTo>
                    <a:pt x="264" y="179"/>
                    <a:pt x="264" y="179"/>
                    <a:pt x="264" y="179"/>
                  </a:cubicBezTo>
                  <a:cubicBezTo>
                    <a:pt x="264" y="187"/>
                    <a:pt x="257" y="194"/>
                    <a:pt x="249" y="194"/>
                  </a:cubicBezTo>
                  <a:lnTo>
                    <a:pt x="224" y="194"/>
                  </a:lnTo>
                  <a:close/>
                  <a:moveTo>
                    <a:pt x="224" y="0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224" y="16"/>
                    <a:pt x="224" y="16"/>
                    <a:pt x="224" y="16"/>
                  </a:cubicBezTo>
                  <a:cubicBezTo>
                    <a:pt x="224" y="0"/>
                    <a:pt x="224" y="0"/>
                    <a:pt x="224" y="0"/>
                  </a:cubicBezTo>
                  <a:close/>
                  <a:moveTo>
                    <a:pt x="187" y="224"/>
                  </a:moveTo>
                  <a:cubicBezTo>
                    <a:pt x="224" y="224"/>
                    <a:pt x="224" y="224"/>
                    <a:pt x="224" y="224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187" y="208"/>
                    <a:pt x="187" y="208"/>
                    <a:pt x="187" y="208"/>
                  </a:cubicBezTo>
                  <a:cubicBezTo>
                    <a:pt x="187" y="224"/>
                    <a:pt x="187" y="224"/>
                    <a:pt x="187" y="224"/>
                  </a:cubicBezTo>
                  <a:close/>
                  <a:moveTo>
                    <a:pt x="224" y="29"/>
                  </a:moveTo>
                  <a:cubicBezTo>
                    <a:pt x="224" y="179"/>
                    <a:pt x="224" y="179"/>
                    <a:pt x="224" y="179"/>
                  </a:cubicBezTo>
                  <a:cubicBezTo>
                    <a:pt x="200" y="179"/>
                    <a:pt x="200" y="179"/>
                    <a:pt x="200" y="179"/>
                  </a:cubicBezTo>
                  <a:cubicBezTo>
                    <a:pt x="200" y="188"/>
                    <a:pt x="200" y="188"/>
                    <a:pt x="200" y="188"/>
                  </a:cubicBezTo>
                  <a:cubicBezTo>
                    <a:pt x="224" y="188"/>
                    <a:pt x="224" y="188"/>
                    <a:pt x="224" y="188"/>
                  </a:cubicBezTo>
                  <a:cubicBezTo>
                    <a:pt x="224" y="194"/>
                    <a:pt x="224" y="194"/>
                    <a:pt x="224" y="194"/>
                  </a:cubicBezTo>
                  <a:cubicBezTo>
                    <a:pt x="187" y="194"/>
                    <a:pt x="187" y="194"/>
                    <a:pt x="187" y="194"/>
                  </a:cubicBezTo>
                  <a:cubicBezTo>
                    <a:pt x="187" y="135"/>
                    <a:pt x="187" y="135"/>
                    <a:pt x="187" y="135"/>
                  </a:cubicBezTo>
                  <a:cubicBezTo>
                    <a:pt x="188" y="135"/>
                    <a:pt x="189" y="134"/>
                    <a:pt x="189" y="134"/>
                  </a:cubicBezTo>
                  <a:cubicBezTo>
                    <a:pt x="194" y="133"/>
                    <a:pt x="197" y="131"/>
                    <a:pt x="201" y="128"/>
                  </a:cubicBezTo>
                  <a:cubicBezTo>
                    <a:pt x="204" y="124"/>
                    <a:pt x="206" y="121"/>
                    <a:pt x="207" y="117"/>
                  </a:cubicBezTo>
                  <a:cubicBezTo>
                    <a:pt x="208" y="115"/>
                    <a:pt x="208" y="113"/>
                    <a:pt x="208" y="111"/>
                  </a:cubicBezTo>
                  <a:cubicBezTo>
                    <a:pt x="208" y="109"/>
                    <a:pt x="208" y="107"/>
                    <a:pt x="207" y="104"/>
                  </a:cubicBezTo>
                  <a:cubicBezTo>
                    <a:pt x="207" y="102"/>
                    <a:pt x="205" y="100"/>
                    <a:pt x="203" y="98"/>
                  </a:cubicBezTo>
                  <a:cubicBezTo>
                    <a:pt x="200" y="96"/>
                    <a:pt x="197" y="94"/>
                    <a:pt x="193" y="94"/>
                  </a:cubicBezTo>
                  <a:cubicBezTo>
                    <a:pt x="197" y="91"/>
                    <a:pt x="199" y="88"/>
                    <a:pt x="201" y="85"/>
                  </a:cubicBezTo>
                  <a:cubicBezTo>
                    <a:pt x="202" y="81"/>
                    <a:pt x="202" y="78"/>
                    <a:pt x="201" y="74"/>
                  </a:cubicBezTo>
                  <a:cubicBezTo>
                    <a:pt x="200" y="71"/>
                    <a:pt x="198" y="69"/>
                    <a:pt x="195" y="67"/>
                  </a:cubicBezTo>
                  <a:cubicBezTo>
                    <a:pt x="193" y="66"/>
                    <a:pt x="190" y="66"/>
                    <a:pt x="187" y="66"/>
                  </a:cubicBezTo>
                  <a:cubicBezTo>
                    <a:pt x="187" y="29"/>
                    <a:pt x="187" y="29"/>
                    <a:pt x="187" y="29"/>
                  </a:cubicBezTo>
                  <a:cubicBezTo>
                    <a:pt x="224" y="29"/>
                    <a:pt x="224" y="29"/>
                    <a:pt x="224" y="29"/>
                  </a:cubicBezTo>
                  <a:close/>
                  <a:moveTo>
                    <a:pt x="187" y="128"/>
                  </a:moveTo>
                  <a:cubicBezTo>
                    <a:pt x="187" y="128"/>
                    <a:pt x="188" y="128"/>
                    <a:pt x="188" y="128"/>
                  </a:cubicBezTo>
                  <a:cubicBezTo>
                    <a:pt x="191" y="127"/>
                    <a:pt x="193" y="125"/>
                    <a:pt x="194" y="122"/>
                  </a:cubicBezTo>
                  <a:cubicBezTo>
                    <a:pt x="195" y="118"/>
                    <a:pt x="195" y="115"/>
                    <a:pt x="194" y="111"/>
                  </a:cubicBezTo>
                  <a:cubicBezTo>
                    <a:pt x="193" y="106"/>
                    <a:pt x="191" y="103"/>
                    <a:pt x="187" y="100"/>
                  </a:cubicBezTo>
                  <a:cubicBezTo>
                    <a:pt x="187" y="128"/>
                    <a:pt x="187" y="128"/>
                    <a:pt x="187" y="128"/>
                  </a:cubicBezTo>
                  <a:close/>
                  <a:moveTo>
                    <a:pt x="187" y="91"/>
                  </a:moveTo>
                  <a:cubicBezTo>
                    <a:pt x="189" y="87"/>
                    <a:pt x="190" y="84"/>
                    <a:pt x="190" y="80"/>
                  </a:cubicBezTo>
                  <a:cubicBezTo>
                    <a:pt x="190" y="78"/>
                    <a:pt x="190" y="77"/>
                    <a:pt x="190" y="75"/>
                  </a:cubicBezTo>
                  <a:cubicBezTo>
                    <a:pt x="189" y="74"/>
                    <a:pt x="189" y="72"/>
                    <a:pt x="188" y="71"/>
                  </a:cubicBezTo>
                  <a:cubicBezTo>
                    <a:pt x="187" y="71"/>
                    <a:pt x="187" y="71"/>
                    <a:pt x="187" y="71"/>
                  </a:cubicBezTo>
                  <a:lnTo>
                    <a:pt x="187" y="91"/>
                  </a:lnTo>
                  <a:close/>
                  <a:moveTo>
                    <a:pt x="187" y="0"/>
                  </a:moveTo>
                  <a:cubicBezTo>
                    <a:pt x="147" y="0"/>
                    <a:pt x="147" y="0"/>
                    <a:pt x="147" y="0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0"/>
                    <a:pt x="187" y="0"/>
                    <a:pt x="187" y="0"/>
                  </a:cubicBezTo>
                  <a:close/>
                  <a:moveTo>
                    <a:pt x="147" y="224"/>
                  </a:moveTo>
                  <a:cubicBezTo>
                    <a:pt x="187" y="224"/>
                    <a:pt x="187" y="224"/>
                    <a:pt x="187" y="224"/>
                  </a:cubicBezTo>
                  <a:cubicBezTo>
                    <a:pt x="187" y="208"/>
                    <a:pt x="187" y="208"/>
                    <a:pt x="187" y="208"/>
                  </a:cubicBezTo>
                  <a:cubicBezTo>
                    <a:pt x="147" y="208"/>
                    <a:pt x="147" y="208"/>
                    <a:pt x="147" y="208"/>
                  </a:cubicBezTo>
                  <a:cubicBezTo>
                    <a:pt x="147" y="224"/>
                    <a:pt x="147" y="224"/>
                    <a:pt x="147" y="224"/>
                  </a:cubicBezTo>
                  <a:close/>
                  <a:moveTo>
                    <a:pt x="187" y="29"/>
                  </a:moveTo>
                  <a:cubicBezTo>
                    <a:pt x="187" y="66"/>
                    <a:pt x="187" y="66"/>
                    <a:pt x="187" y="66"/>
                  </a:cubicBezTo>
                  <a:cubicBezTo>
                    <a:pt x="185" y="66"/>
                    <a:pt x="184" y="66"/>
                    <a:pt x="182" y="67"/>
                  </a:cubicBezTo>
                  <a:cubicBezTo>
                    <a:pt x="176" y="68"/>
                    <a:pt x="172" y="71"/>
                    <a:pt x="169" y="75"/>
                  </a:cubicBezTo>
                  <a:cubicBezTo>
                    <a:pt x="167" y="80"/>
                    <a:pt x="166" y="84"/>
                    <a:pt x="167" y="88"/>
                  </a:cubicBezTo>
                  <a:cubicBezTo>
                    <a:pt x="168" y="93"/>
                    <a:pt x="172" y="97"/>
                    <a:pt x="177" y="98"/>
                  </a:cubicBezTo>
                  <a:cubicBezTo>
                    <a:pt x="173" y="101"/>
                    <a:pt x="169" y="105"/>
                    <a:pt x="168" y="109"/>
                  </a:cubicBezTo>
                  <a:cubicBezTo>
                    <a:pt x="166" y="113"/>
                    <a:pt x="165" y="117"/>
                    <a:pt x="167" y="122"/>
                  </a:cubicBezTo>
                  <a:cubicBezTo>
                    <a:pt x="168" y="126"/>
                    <a:pt x="170" y="130"/>
                    <a:pt x="175" y="133"/>
                  </a:cubicBezTo>
                  <a:cubicBezTo>
                    <a:pt x="178" y="135"/>
                    <a:pt x="182" y="135"/>
                    <a:pt x="187" y="135"/>
                  </a:cubicBezTo>
                  <a:cubicBezTo>
                    <a:pt x="187" y="194"/>
                    <a:pt x="187" y="194"/>
                    <a:pt x="187" y="194"/>
                  </a:cubicBezTo>
                  <a:cubicBezTo>
                    <a:pt x="147" y="194"/>
                    <a:pt x="147" y="194"/>
                    <a:pt x="147" y="194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25"/>
                    <a:pt x="148" y="125"/>
                    <a:pt x="148" y="125"/>
                  </a:cubicBezTo>
                  <a:cubicBezTo>
                    <a:pt x="159" y="123"/>
                    <a:pt x="159" y="123"/>
                    <a:pt x="159" y="123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87" y="29"/>
                    <a:pt x="187" y="29"/>
                    <a:pt x="187" y="29"/>
                  </a:cubicBezTo>
                  <a:close/>
                  <a:moveTo>
                    <a:pt x="187" y="71"/>
                  </a:moveTo>
                  <a:cubicBezTo>
                    <a:pt x="186" y="70"/>
                    <a:pt x="185" y="70"/>
                    <a:pt x="184" y="70"/>
                  </a:cubicBezTo>
                  <a:cubicBezTo>
                    <a:pt x="181" y="71"/>
                    <a:pt x="179" y="73"/>
                    <a:pt x="178" y="76"/>
                  </a:cubicBezTo>
                  <a:cubicBezTo>
                    <a:pt x="177" y="78"/>
                    <a:pt x="177" y="81"/>
                    <a:pt x="178" y="83"/>
                  </a:cubicBezTo>
                  <a:cubicBezTo>
                    <a:pt x="179" y="88"/>
                    <a:pt x="181" y="91"/>
                    <a:pt x="185" y="93"/>
                  </a:cubicBezTo>
                  <a:cubicBezTo>
                    <a:pt x="186" y="92"/>
                    <a:pt x="187" y="91"/>
                    <a:pt x="187" y="91"/>
                  </a:cubicBezTo>
                  <a:cubicBezTo>
                    <a:pt x="187" y="71"/>
                    <a:pt x="187" y="71"/>
                    <a:pt x="187" y="71"/>
                  </a:cubicBezTo>
                  <a:close/>
                  <a:moveTo>
                    <a:pt x="187" y="100"/>
                  </a:moveTo>
                  <a:cubicBezTo>
                    <a:pt x="187" y="100"/>
                    <a:pt x="186" y="100"/>
                    <a:pt x="186" y="99"/>
                  </a:cubicBezTo>
                  <a:cubicBezTo>
                    <a:pt x="181" y="104"/>
                    <a:pt x="179" y="110"/>
                    <a:pt x="179" y="116"/>
                  </a:cubicBezTo>
                  <a:cubicBezTo>
                    <a:pt x="179" y="118"/>
                    <a:pt x="179" y="120"/>
                    <a:pt x="180" y="121"/>
                  </a:cubicBezTo>
                  <a:cubicBezTo>
                    <a:pt x="180" y="124"/>
                    <a:pt x="182" y="126"/>
                    <a:pt x="183" y="127"/>
                  </a:cubicBezTo>
                  <a:cubicBezTo>
                    <a:pt x="184" y="128"/>
                    <a:pt x="186" y="128"/>
                    <a:pt x="187" y="128"/>
                  </a:cubicBezTo>
                  <a:lnTo>
                    <a:pt x="187" y="100"/>
                  </a:lnTo>
                  <a:close/>
                  <a:moveTo>
                    <a:pt x="147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16"/>
                    <a:pt x="99" y="16"/>
                    <a:pt x="99" y="16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47" y="0"/>
                    <a:pt x="147" y="0"/>
                    <a:pt x="147" y="0"/>
                  </a:cubicBezTo>
                  <a:close/>
                  <a:moveTo>
                    <a:pt x="99" y="224"/>
                  </a:moveTo>
                  <a:cubicBezTo>
                    <a:pt x="147" y="224"/>
                    <a:pt x="147" y="224"/>
                    <a:pt x="147" y="224"/>
                  </a:cubicBezTo>
                  <a:cubicBezTo>
                    <a:pt x="147" y="208"/>
                    <a:pt x="147" y="208"/>
                    <a:pt x="147" y="208"/>
                  </a:cubicBezTo>
                  <a:cubicBezTo>
                    <a:pt x="99" y="208"/>
                    <a:pt x="99" y="208"/>
                    <a:pt x="99" y="208"/>
                  </a:cubicBezTo>
                  <a:cubicBezTo>
                    <a:pt x="99" y="224"/>
                    <a:pt x="99" y="224"/>
                    <a:pt x="99" y="224"/>
                  </a:cubicBezTo>
                  <a:close/>
                  <a:moveTo>
                    <a:pt x="147" y="29"/>
                  </a:moveTo>
                  <a:cubicBezTo>
                    <a:pt x="147" y="106"/>
                    <a:pt x="147" y="106"/>
                    <a:pt x="147" y="106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31"/>
                    <a:pt x="127" y="131"/>
                    <a:pt x="127" y="13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8" y="139"/>
                    <a:pt x="138" y="139"/>
                    <a:pt x="138" y="139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7" y="194"/>
                    <a:pt x="147" y="194"/>
                    <a:pt x="147" y="194"/>
                  </a:cubicBezTo>
                  <a:cubicBezTo>
                    <a:pt x="99" y="194"/>
                    <a:pt x="99" y="194"/>
                    <a:pt x="99" y="194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7"/>
                    <a:pt x="101" y="157"/>
                    <a:pt x="102" y="156"/>
                  </a:cubicBezTo>
                  <a:cubicBezTo>
                    <a:pt x="109" y="155"/>
                    <a:pt x="113" y="151"/>
                    <a:pt x="117" y="145"/>
                  </a:cubicBezTo>
                  <a:cubicBezTo>
                    <a:pt x="120" y="139"/>
                    <a:pt x="121" y="132"/>
                    <a:pt x="119" y="124"/>
                  </a:cubicBezTo>
                  <a:cubicBezTo>
                    <a:pt x="118" y="120"/>
                    <a:pt x="116" y="117"/>
                    <a:pt x="114" y="115"/>
                  </a:cubicBezTo>
                  <a:cubicBezTo>
                    <a:pt x="112" y="114"/>
                    <a:pt x="111" y="113"/>
                    <a:pt x="109" y="113"/>
                  </a:cubicBezTo>
                  <a:cubicBezTo>
                    <a:pt x="108" y="112"/>
                    <a:pt x="105" y="113"/>
                    <a:pt x="103" y="113"/>
                  </a:cubicBezTo>
                  <a:cubicBezTo>
                    <a:pt x="101" y="114"/>
                    <a:pt x="100" y="114"/>
                    <a:pt x="99" y="115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102" y="93"/>
                    <a:pt x="103" y="93"/>
                    <a:pt x="104" y="94"/>
                  </a:cubicBezTo>
                  <a:cubicBezTo>
                    <a:pt x="105" y="94"/>
                    <a:pt x="106" y="95"/>
                    <a:pt x="106" y="97"/>
                  </a:cubicBezTo>
                  <a:cubicBezTo>
                    <a:pt x="106" y="98"/>
                    <a:pt x="106" y="99"/>
                    <a:pt x="105" y="100"/>
                  </a:cubicBezTo>
                  <a:cubicBezTo>
                    <a:pt x="108" y="99"/>
                    <a:pt x="110" y="98"/>
                    <a:pt x="111" y="97"/>
                  </a:cubicBezTo>
                  <a:cubicBezTo>
                    <a:pt x="112" y="95"/>
                    <a:pt x="112" y="93"/>
                    <a:pt x="111" y="92"/>
                  </a:cubicBezTo>
                  <a:cubicBezTo>
                    <a:pt x="111" y="90"/>
                    <a:pt x="110" y="89"/>
                    <a:pt x="107" y="88"/>
                  </a:cubicBezTo>
                  <a:cubicBezTo>
                    <a:pt x="105" y="87"/>
                    <a:pt x="103" y="87"/>
                    <a:pt x="100" y="88"/>
                  </a:cubicBezTo>
                  <a:cubicBezTo>
                    <a:pt x="99" y="88"/>
                    <a:pt x="99" y="88"/>
                    <a:pt x="99" y="88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47" y="29"/>
                    <a:pt x="147" y="29"/>
                    <a:pt x="147" y="29"/>
                  </a:cubicBezTo>
                  <a:close/>
                  <a:moveTo>
                    <a:pt x="99" y="150"/>
                  </a:moveTo>
                  <a:cubicBezTo>
                    <a:pt x="100" y="150"/>
                    <a:pt x="101" y="150"/>
                    <a:pt x="101" y="150"/>
                  </a:cubicBezTo>
                  <a:cubicBezTo>
                    <a:pt x="105" y="149"/>
                    <a:pt x="107" y="146"/>
                    <a:pt x="109" y="142"/>
                  </a:cubicBezTo>
                  <a:cubicBezTo>
                    <a:pt x="110" y="137"/>
                    <a:pt x="111" y="133"/>
                    <a:pt x="110" y="129"/>
                  </a:cubicBezTo>
                  <a:cubicBezTo>
                    <a:pt x="108" y="123"/>
                    <a:pt x="106" y="120"/>
                    <a:pt x="103" y="121"/>
                  </a:cubicBezTo>
                  <a:cubicBezTo>
                    <a:pt x="101" y="121"/>
                    <a:pt x="100" y="122"/>
                    <a:pt x="99" y="123"/>
                  </a:cubicBezTo>
                  <a:lnTo>
                    <a:pt x="99" y="150"/>
                  </a:lnTo>
                  <a:close/>
                  <a:moveTo>
                    <a:pt x="99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13"/>
                    <a:pt x="10" y="224"/>
                    <a:pt x="23" y="224"/>
                  </a:cubicBezTo>
                  <a:cubicBezTo>
                    <a:pt x="99" y="224"/>
                    <a:pt x="99" y="224"/>
                    <a:pt x="99" y="224"/>
                  </a:cubicBezTo>
                  <a:cubicBezTo>
                    <a:pt x="99" y="208"/>
                    <a:pt x="99" y="208"/>
                    <a:pt x="99" y="208"/>
                  </a:cubicBezTo>
                  <a:cubicBezTo>
                    <a:pt x="37" y="208"/>
                    <a:pt x="37" y="208"/>
                    <a:pt x="37" y="208"/>
                  </a:cubicBezTo>
                  <a:cubicBezTo>
                    <a:pt x="37" y="208"/>
                    <a:pt x="37" y="208"/>
                    <a:pt x="37" y="208"/>
                  </a:cubicBezTo>
                  <a:cubicBezTo>
                    <a:pt x="26" y="208"/>
                    <a:pt x="17" y="199"/>
                    <a:pt x="17" y="189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24"/>
                    <a:pt x="26" y="16"/>
                    <a:pt x="37" y="16"/>
                  </a:cubicBezTo>
                  <a:cubicBezTo>
                    <a:pt x="99" y="16"/>
                    <a:pt x="99" y="16"/>
                    <a:pt x="99" y="16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99" y="29"/>
                  </a:moveTo>
                  <a:cubicBezTo>
                    <a:pt x="99" y="88"/>
                    <a:pt x="99" y="88"/>
                    <a:pt x="99" y="88"/>
                  </a:cubicBezTo>
                  <a:cubicBezTo>
                    <a:pt x="93" y="89"/>
                    <a:pt x="89" y="93"/>
                    <a:pt x="85" y="97"/>
                  </a:cubicBezTo>
                  <a:cubicBezTo>
                    <a:pt x="82" y="102"/>
                    <a:pt x="80" y="109"/>
                    <a:pt x="79" y="116"/>
                  </a:cubicBezTo>
                  <a:cubicBezTo>
                    <a:pt x="78" y="120"/>
                    <a:pt x="78" y="124"/>
                    <a:pt x="79" y="129"/>
                  </a:cubicBezTo>
                  <a:cubicBezTo>
                    <a:pt x="79" y="134"/>
                    <a:pt x="80" y="138"/>
                    <a:pt x="81" y="142"/>
                  </a:cubicBezTo>
                  <a:cubicBezTo>
                    <a:pt x="81" y="144"/>
                    <a:pt x="81" y="144"/>
                    <a:pt x="81" y="144"/>
                  </a:cubicBezTo>
                  <a:cubicBezTo>
                    <a:pt x="82" y="146"/>
                    <a:pt x="82" y="148"/>
                    <a:pt x="83" y="150"/>
                  </a:cubicBezTo>
                  <a:cubicBezTo>
                    <a:pt x="86" y="156"/>
                    <a:pt x="92" y="158"/>
                    <a:pt x="99" y="157"/>
                  </a:cubicBezTo>
                  <a:cubicBezTo>
                    <a:pt x="99" y="194"/>
                    <a:pt x="99" y="194"/>
                    <a:pt x="99" y="194"/>
                  </a:cubicBezTo>
                  <a:cubicBezTo>
                    <a:pt x="46" y="194"/>
                    <a:pt x="46" y="194"/>
                    <a:pt x="46" y="194"/>
                  </a:cubicBezTo>
                  <a:cubicBezTo>
                    <a:pt x="37" y="194"/>
                    <a:pt x="30" y="187"/>
                    <a:pt x="30" y="179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36"/>
                    <a:pt x="37" y="29"/>
                    <a:pt x="46" y="29"/>
                  </a:cubicBezTo>
                  <a:cubicBezTo>
                    <a:pt x="99" y="29"/>
                    <a:pt x="99" y="29"/>
                    <a:pt x="99" y="29"/>
                  </a:cubicBezTo>
                  <a:close/>
                  <a:moveTo>
                    <a:pt x="99" y="93"/>
                  </a:moveTo>
                  <a:cubicBezTo>
                    <a:pt x="99" y="115"/>
                    <a:pt x="99" y="115"/>
                    <a:pt x="99" y="115"/>
                  </a:cubicBezTo>
                  <a:cubicBezTo>
                    <a:pt x="98" y="115"/>
                    <a:pt x="97" y="116"/>
                    <a:pt x="96" y="118"/>
                  </a:cubicBezTo>
                  <a:cubicBezTo>
                    <a:pt x="94" y="120"/>
                    <a:pt x="93" y="122"/>
                    <a:pt x="94" y="125"/>
                  </a:cubicBezTo>
                  <a:cubicBezTo>
                    <a:pt x="94" y="127"/>
                    <a:pt x="95" y="128"/>
                    <a:pt x="97" y="129"/>
                  </a:cubicBezTo>
                  <a:cubicBezTo>
                    <a:pt x="97" y="127"/>
                    <a:pt x="98" y="125"/>
                    <a:pt x="99" y="123"/>
                  </a:cubicBezTo>
                  <a:cubicBezTo>
                    <a:pt x="99" y="150"/>
                    <a:pt x="99" y="150"/>
                    <a:pt x="99" y="150"/>
                  </a:cubicBezTo>
                  <a:cubicBezTo>
                    <a:pt x="98" y="150"/>
                    <a:pt x="97" y="149"/>
                    <a:pt x="96" y="149"/>
                  </a:cubicBezTo>
                  <a:cubicBezTo>
                    <a:pt x="95" y="148"/>
                    <a:pt x="94" y="146"/>
                    <a:pt x="93" y="142"/>
                  </a:cubicBezTo>
                  <a:cubicBezTo>
                    <a:pt x="92" y="140"/>
                    <a:pt x="92" y="137"/>
                    <a:pt x="91" y="133"/>
                  </a:cubicBezTo>
                  <a:cubicBezTo>
                    <a:pt x="91" y="128"/>
                    <a:pt x="90" y="124"/>
                    <a:pt x="90" y="119"/>
                  </a:cubicBezTo>
                  <a:cubicBezTo>
                    <a:pt x="90" y="111"/>
                    <a:pt x="91" y="104"/>
                    <a:pt x="93" y="100"/>
                  </a:cubicBezTo>
                  <a:cubicBezTo>
                    <a:pt x="95" y="97"/>
                    <a:pt x="97" y="94"/>
                    <a:pt x="99" y="93"/>
                  </a:cubicBezTo>
                  <a:close/>
                </a:path>
              </a:pathLst>
            </a:custGeom>
            <a:solidFill>
              <a:srgbClr val="00953A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8" name="Freeform 77">
              <a:extLst>
                <a:ext uri="{FF2B5EF4-FFF2-40B4-BE49-F238E27FC236}">
                  <a16:creationId xmlns:a16="http://schemas.microsoft.com/office/drawing/2014/main" id="{AFF22B1B-B146-4FB7-BC8F-3511B0DF5576}"/>
                </a:ext>
              </a:extLst>
            </p:cNvPr>
            <p:cNvSpPr/>
            <p:nvPr/>
          </p:nvSpPr>
          <p:spPr bwMode="auto">
            <a:xfrm>
              <a:off x="7473112" y="2359028"/>
              <a:ext cx="214257" cy="160296"/>
            </a:xfrm>
            <a:custGeom>
              <a:avLst/>
              <a:gdLst>
                <a:gd name="T0" fmla="*/ 69 w 98"/>
                <a:gd name="T1" fmla="*/ 0 h 74"/>
                <a:gd name="T2" fmla="*/ 49 w 98"/>
                <a:gd name="T3" fmla="*/ 8 h 74"/>
                <a:gd name="T4" fmla="*/ 30 w 98"/>
                <a:gd name="T5" fmla="*/ 0 h 74"/>
                <a:gd name="T6" fmla="*/ 0 w 98"/>
                <a:gd name="T7" fmla="*/ 29 h 74"/>
                <a:gd name="T8" fmla="*/ 51 w 98"/>
                <a:gd name="T9" fmla="*/ 74 h 74"/>
                <a:gd name="T10" fmla="*/ 98 w 98"/>
                <a:gd name="T11" fmla="*/ 29 h 74"/>
                <a:gd name="T12" fmla="*/ 69 w 98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74">
                  <a:moveTo>
                    <a:pt x="69" y="0"/>
                  </a:moveTo>
                  <a:cubicBezTo>
                    <a:pt x="61" y="0"/>
                    <a:pt x="54" y="3"/>
                    <a:pt x="49" y="8"/>
                  </a:cubicBezTo>
                  <a:cubicBezTo>
                    <a:pt x="44" y="3"/>
                    <a:pt x="37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7"/>
                    <a:pt x="15" y="74"/>
                    <a:pt x="51" y="74"/>
                  </a:cubicBezTo>
                  <a:cubicBezTo>
                    <a:pt x="88" y="74"/>
                    <a:pt x="98" y="45"/>
                    <a:pt x="98" y="29"/>
                  </a:cubicBezTo>
                  <a:cubicBezTo>
                    <a:pt x="98" y="13"/>
                    <a:pt x="85" y="0"/>
                    <a:pt x="69" y="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69" name="Freeform 78">
              <a:extLst>
                <a:ext uri="{FF2B5EF4-FFF2-40B4-BE49-F238E27FC236}">
                  <a16:creationId xmlns:a16="http://schemas.microsoft.com/office/drawing/2014/main" id="{25A286FE-4661-475A-8934-1F8C6E8E344A}"/>
                </a:ext>
              </a:extLst>
            </p:cNvPr>
            <p:cNvSpPr/>
            <p:nvPr/>
          </p:nvSpPr>
          <p:spPr bwMode="auto">
            <a:xfrm>
              <a:off x="7568335" y="2317764"/>
              <a:ext cx="58723" cy="73005"/>
            </a:xfrm>
            <a:custGeom>
              <a:avLst/>
              <a:gdLst>
                <a:gd name="T0" fmla="*/ 6 w 27"/>
                <a:gd name="T1" fmla="*/ 34 h 34"/>
                <a:gd name="T2" fmla="*/ 13 w 27"/>
                <a:gd name="T3" fmla="*/ 0 h 34"/>
                <a:gd name="T4" fmla="*/ 27 w 27"/>
                <a:gd name="T5" fmla="*/ 3 h 34"/>
                <a:gd name="T6" fmla="*/ 6 w 27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4">
                  <a:moveTo>
                    <a:pt x="6" y="34"/>
                  </a:moveTo>
                  <a:cubicBezTo>
                    <a:pt x="0" y="22"/>
                    <a:pt x="4" y="9"/>
                    <a:pt x="13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14" y="10"/>
                    <a:pt x="6" y="18"/>
                    <a:pt x="6" y="34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0" name="Freeform 79">
              <a:extLst>
                <a:ext uri="{FF2B5EF4-FFF2-40B4-BE49-F238E27FC236}">
                  <a16:creationId xmlns:a16="http://schemas.microsoft.com/office/drawing/2014/main" id="{22B9CAFE-22B8-4098-923F-F196B1D65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35047" y="3654091"/>
              <a:ext cx="225367" cy="312656"/>
            </a:xfrm>
            <a:custGeom>
              <a:avLst/>
              <a:gdLst>
                <a:gd name="T0" fmla="*/ 87 w 103"/>
                <a:gd name="T1" fmla="*/ 88 h 143"/>
                <a:gd name="T2" fmla="*/ 103 w 103"/>
                <a:gd name="T3" fmla="*/ 112 h 143"/>
                <a:gd name="T4" fmla="*/ 102 w 103"/>
                <a:gd name="T5" fmla="*/ 143 h 143"/>
                <a:gd name="T6" fmla="*/ 87 w 103"/>
                <a:gd name="T7" fmla="*/ 137 h 143"/>
                <a:gd name="T8" fmla="*/ 87 w 103"/>
                <a:gd name="T9" fmla="*/ 134 h 143"/>
                <a:gd name="T10" fmla="*/ 91 w 103"/>
                <a:gd name="T11" fmla="*/ 136 h 143"/>
                <a:gd name="T12" fmla="*/ 100 w 103"/>
                <a:gd name="T13" fmla="*/ 130 h 143"/>
                <a:gd name="T14" fmla="*/ 100 w 103"/>
                <a:gd name="T15" fmla="*/ 113 h 143"/>
                <a:gd name="T16" fmla="*/ 100 w 103"/>
                <a:gd name="T17" fmla="*/ 113 h 143"/>
                <a:gd name="T18" fmla="*/ 99 w 103"/>
                <a:gd name="T19" fmla="*/ 111 h 143"/>
                <a:gd name="T20" fmla="*/ 92 w 103"/>
                <a:gd name="T21" fmla="*/ 110 h 143"/>
                <a:gd name="T22" fmla="*/ 90 w 103"/>
                <a:gd name="T23" fmla="*/ 116 h 143"/>
                <a:gd name="T24" fmla="*/ 87 w 103"/>
                <a:gd name="T25" fmla="*/ 115 h 143"/>
                <a:gd name="T26" fmla="*/ 87 w 103"/>
                <a:gd name="T27" fmla="*/ 88 h 143"/>
                <a:gd name="T28" fmla="*/ 73 w 103"/>
                <a:gd name="T29" fmla="*/ 132 h 143"/>
                <a:gd name="T30" fmla="*/ 32 w 103"/>
                <a:gd name="T31" fmla="*/ 70 h 143"/>
                <a:gd name="T32" fmla="*/ 28 w 103"/>
                <a:gd name="T33" fmla="*/ 68 h 143"/>
                <a:gd name="T34" fmla="*/ 28 w 103"/>
                <a:gd name="T35" fmla="*/ 67 h 143"/>
                <a:gd name="T36" fmla="*/ 28 w 103"/>
                <a:gd name="T37" fmla="*/ 63 h 143"/>
                <a:gd name="T38" fmla="*/ 29 w 103"/>
                <a:gd name="T39" fmla="*/ 65 h 143"/>
                <a:gd name="T40" fmla="*/ 34 w 103"/>
                <a:gd name="T41" fmla="*/ 66 h 143"/>
                <a:gd name="T42" fmla="*/ 41 w 103"/>
                <a:gd name="T43" fmla="*/ 61 h 143"/>
                <a:gd name="T44" fmla="*/ 41 w 103"/>
                <a:gd name="T45" fmla="*/ 61 h 143"/>
                <a:gd name="T46" fmla="*/ 37 w 103"/>
                <a:gd name="T47" fmla="*/ 59 h 143"/>
                <a:gd name="T48" fmla="*/ 28 w 103"/>
                <a:gd name="T49" fmla="*/ 45 h 143"/>
                <a:gd name="T50" fmla="*/ 28 w 103"/>
                <a:gd name="T51" fmla="*/ 26 h 143"/>
                <a:gd name="T52" fmla="*/ 39 w 103"/>
                <a:gd name="T53" fmla="*/ 19 h 143"/>
                <a:gd name="T54" fmla="*/ 44 w 103"/>
                <a:gd name="T55" fmla="*/ 21 h 143"/>
                <a:gd name="T56" fmla="*/ 61 w 103"/>
                <a:gd name="T57" fmla="*/ 46 h 143"/>
                <a:gd name="T58" fmla="*/ 61 w 103"/>
                <a:gd name="T59" fmla="*/ 50 h 143"/>
                <a:gd name="T60" fmla="*/ 87 w 103"/>
                <a:gd name="T61" fmla="*/ 88 h 143"/>
                <a:gd name="T62" fmla="*/ 87 w 103"/>
                <a:gd name="T63" fmla="*/ 115 h 143"/>
                <a:gd name="T64" fmla="*/ 84 w 103"/>
                <a:gd name="T65" fmla="*/ 116 h 143"/>
                <a:gd name="T66" fmla="*/ 82 w 103"/>
                <a:gd name="T67" fmla="*/ 122 h 143"/>
                <a:gd name="T68" fmla="*/ 75 w 103"/>
                <a:gd name="T69" fmla="*/ 121 h 143"/>
                <a:gd name="T70" fmla="*/ 74 w 103"/>
                <a:gd name="T71" fmla="*/ 128 h 143"/>
                <a:gd name="T72" fmla="*/ 75 w 103"/>
                <a:gd name="T73" fmla="*/ 130 h 143"/>
                <a:gd name="T74" fmla="*/ 87 w 103"/>
                <a:gd name="T75" fmla="*/ 134 h 143"/>
                <a:gd name="T76" fmla="*/ 87 w 103"/>
                <a:gd name="T77" fmla="*/ 137 h 143"/>
                <a:gd name="T78" fmla="*/ 73 w 103"/>
                <a:gd name="T79" fmla="*/ 132 h 143"/>
                <a:gd name="T80" fmla="*/ 28 w 103"/>
                <a:gd name="T81" fmla="*/ 4 h 143"/>
                <a:gd name="T82" fmla="*/ 28 w 103"/>
                <a:gd name="T83" fmla="*/ 24 h 143"/>
                <a:gd name="T84" fmla="*/ 36 w 103"/>
                <a:gd name="T85" fmla="*/ 15 h 143"/>
                <a:gd name="T86" fmla="*/ 32 w 103"/>
                <a:gd name="T87" fmla="*/ 8 h 143"/>
                <a:gd name="T88" fmla="*/ 28 w 103"/>
                <a:gd name="T89" fmla="*/ 4 h 143"/>
                <a:gd name="T90" fmla="*/ 28 w 103"/>
                <a:gd name="T91" fmla="*/ 67 h 143"/>
                <a:gd name="T92" fmla="*/ 11 w 103"/>
                <a:gd name="T93" fmla="*/ 43 h 143"/>
                <a:gd name="T94" fmla="*/ 11 w 103"/>
                <a:gd name="T95" fmla="*/ 37 h 143"/>
                <a:gd name="T96" fmla="*/ 5 w 103"/>
                <a:gd name="T97" fmla="*/ 27 h 143"/>
                <a:gd name="T98" fmla="*/ 9 w 103"/>
                <a:gd name="T99" fmla="*/ 4 h 143"/>
                <a:gd name="T100" fmla="*/ 28 w 103"/>
                <a:gd name="T101" fmla="*/ 4 h 143"/>
                <a:gd name="T102" fmla="*/ 28 w 103"/>
                <a:gd name="T103" fmla="*/ 24 h 143"/>
                <a:gd name="T104" fmla="*/ 21 w 103"/>
                <a:gd name="T105" fmla="*/ 31 h 143"/>
                <a:gd name="T106" fmla="*/ 28 w 103"/>
                <a:gd name="T107" fmla="*/ 26 h 143"/>
                <a:gd name="T108" fmla="*/ 28 w 103"/>
                <a:gd name="T109" fmla="*/ 45 h 143"/>
                <a:gd name="T110" fmla="*/ 22 w 103"/>
                <a:gd name="T111" fmla="*/ 37 h 143"/>
                <a:gd name="T112" fmla="*/ 22 w 103"/>
                <a:gd name="T113" fmla="*/ 33 h 143"/>
                <a:gd name="T114" fmla="*/ 15 w 103"/>
                <a:gd name="T115" fmla="*/ 37 h 143"/>
                <a:gd name="T116" fmla="*/ 14 w 103"/>
                <a:gd name="T117" fmla="*/ 43 h 143"/>
                <a:gd name="T118" fmla="*/ 28 w 103"/>
                <a:gd name="T119" fmla="*/ 63 h 143"/>
                <a:gd name="T120" fmla="*/ 28 w 103"/>
                <a:gd name="T121" fmla="*/ 6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3" h="143">
                  <a:moveTo>
                    <a:pt x="87" y="88"/>
                  </a:moveTo>
                  <a:cubicBezTo>
                    <a:pt x="103" y="112"/>
                    <a:pt x="103" y="112"/>
                    <a:pt x="103" y="112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4"/>
                    <a:pt x="87" y="134"/>
                    <a:pt x="87" y="134"/>
                  </a:cubicBezTo>
                  <a:cubicBezTo>
                    <a:pt x="91" y="136"/>
                    <a:pt x="91" y="136"/>
                    <a:pt x="91" y="136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100" y="113"/>
                    <a:pt x="100" y="113"/>
                    <a:pt x="100" y="113"/>
                  </a:cubicBezTo>
                  <a:cubicBezTo>
                    <a:pt x="100" y="113"/>
                    <a:pt x="100" y="113"/>
                    <a:pt x="100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8" y="109"/>
                    <a:pt x="95" y="108"/>
                    <a:pt x="92" y="110"/>
                  </a:cubicBezTo>
                  <a:cubicBezTo>
                    <a:pt x="90" y="111"/>
                    <a:pt x="89" y="114"/>
                    <a:pt x="90" y="116"/>
                  </a:cubicBezTo>
                  <a:cubicBezTo>
                    <a:pt x="89" y="115"/>
                    <a:pt x="88" y="115"/>
                    <a:pt x="87" y="115"/>
                  </a:cubicBezTo>
                  <a:lnTo>
                    <a:pt x="87" y="88"/>
                  </a:lnTo>
                  <a:close/>
                  <a:moveTo>
                    <a:pt x="73" y="132"/>
                  </a:moveTo>
                  <a:cubicBezTo>
                    <a:pt x="32" y="70"/>
                    <a:pt x="32" y="70"/>
                    <a:pt x="32" y="70"/>
                  </a:cubicBezTo>
                  <a:cubicBezTo>
                    <a:pt x="30" y="70"/>
                    <a:pt x="29" y="69"/>
                    <a:pt x="28" y="68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7"/>
                    <a:pt x="33" y="67"/>
                    <a:pt x="34" y="66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0" y="61"/>
                    <a:pt x="38" y="61"/>
                    <a:pt x="37" y="59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41" y="18"/>
                    <a:pt x="43" y="19"/>
                    <a:pt x="44" y="21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2" y="47"/>
                    <a:pt x="62" y="49"/>
                    <a:pt x="61" y="50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6" y="115"/>
                    <a:pt x="85" y="115"/>
                    <a:pt x="84" y="116"/>
                  </a:cubicBezTo>
                  <a:cubicBezTo>
                    <a:pt x="82" y="117"/>
                    <a:pt x="81" y="120"/>
                    <a:pt x="82" y="122"/>
                  </a:cubicBezTo>
                  <a:cubicBezTo>
                    <a:pt x="80" y="120"/>
                    <a:pt x="77" y="120"/>
                    <a:pt x="75" y="121"/>
                  </a:cubicBezTo>
                  <a:cubicBezTo>
                    <a:pt x="73" y="123"/>
                    <a:pt x="72" y="126"/>
                    <a:pt x="74" y="128"/>
                  </a:cubicBezTo>
                  <a:cubicBezTo>
                    <a:pt x="75" y="130"/>
                    <a:pt x="75" y="130"/>
                    <a:pt x="75" y="130"/>
                  </a:cubicBezTo>
                  <a:cubicBezTo>
                    <a:pt x="87" y="134"/>
                    <a:pt x="87" y="134"/>
                    <a:pt x="87" y="134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73" y="132"/>
                    <a:pt x="73" y="132"/>
                    <a:pt x="73" y="132"/>
                  </a:cubicBezTo>
                  <a:close/>
                  <a:moveTo>
                    <a:pt x="28" y="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7"/>
                    <a:pt x="29" y="5"/>
                    <a:pt x="28" y="4"/>
                  </a:cubicBezTo>
                  <a:close/>
                  <a:moveTo>
                    <a:pt x="28" y="67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0" y="41"/>
                    <a:pt x="10" y="38"/>
                    <a:pt x="11" y="3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5" y="0"/>
                    <a:pt x="22" y="0"/>
                    <a:pt x="28" y="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36"/>
                    <a:pt x="21" y="34"/>
                    <a:pt x="22" y="33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9"/>
                    <a:pt x="13" y="41"/>
                    <a:pt x="14" y="43"/>
                  </a:cubicBezTo>
                  <a:cubicBezTo>
                    <a:pt x="28" y="63"/>
                    <a:pt x="28" y="63"/>
                    <a:pt x="28" y="63"/>
                  </a:cubicBezTo>
                  <a:lnTo>
                    <a:pt x="28" y="67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1" name="Freeform 80">
              <a:extLst>
                <a:ext uri="{FF2B5EF4-FFF2-40B4-BE49-F238E27FC236}">
                  <a16:creationId xmlns:a16="http://schemas.microsoft.com/office/drawing/2014/main" id="{C0F06D54-37D1-4DB1-B0C2-B29436FBF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6559" y="2051133"/>
              <a:ext cx="282501" cy="309483"/>
            </a:xfrm>
            <a:custGeom>
              <a:avLst/>
              <a:gdLst>
                <a:gd name="T0" fmla="*/ 101 w 130"/>
                <a:gd name="T1" fmla="*/ 65 h 142"/>
                <a:gd name="T2" fmla="*/ 97 w 130"/>
                <a:gd name="T3" fmla="*/ 81 h 142"/>
                <a:gd name="T4" fmla="*/ 97 w 130"/>
                <a:gd name="T5" fmla="*/ 94 h 142"/>
                <a:gd name="T6" fmla="*/ 100 w 130"/>
                <a:gd name="T7" fmla="*/ 95 h 142"/>
                <a:gd name="T8" fmla="*/ 111 w 130"/>
                <a:gd name="T9" fmla="*/ 112 h 142"/>
                <a:gd name="T10" fmla="*/ 97 w 130"/>
                <a:gd name="T11" fmla="*/ 103 h 142"/>
                <a:gd name="T12" fmla="*/ 97 w 130"/>
                <a:gd name="T13" fmla="*/ 28 h 142"/>
                <a:gd name="T14" fmla="*/ 111 w 130"/>
                <a:gd name="T15" fmla="*/ 19 h 142"/>
                <a:gd name="T16" fmla="*/ 100 w 130"/>
                <a:gd name="T17" fmla="*/ 35 h 142"/>
                <a:gd name="T18" fmla="*/ 97 w 130"/>
                <a:gd name="T19" fmla="*/ 36 h 142"/>
                <a:gd name="T20" fmla="*/ 127 w 130"/>
                <a:gd name="T21" fmla="*/ 62 h 142"/>
                <a:gd name="T22" fmla="*/ 108 w 130"/>
                <a:gd name="T23" fmla="*/ 65 h 142"/>
                <a:gd name="T24" fmla="*/ 127 w 130"/>
                <a:gd name="T25" fmla="*/ 69 h 142"/>
                <a:gd name="T26" fmla="*/ 127 w 130"/>
                <a:gd name="T27" fmla="*/ 62 h 142"/>
                <a:gd name="T28" fmla="*/ 67 w 130"/>
                <a:gd name="T29" fmla="*/ 142 h 142"/>
                <a:gd name="T30" fmla="*/ 85 w 130"/>
                <a:gd name="T31" fmla="*/ 95 h 142"/>
                <a:gd name="T32" fmla="*/ 97 w 130"/>
                <a:gd name="T33" fmla="*/ 50 h 142"/>
                <a:gd name="T34" fmla="*/ 65 w 130"/>
                <a:gd name="T35" fmla="*/ 37 h 142"/>
                <a:gd name="T36" fmla="*/ 93 w 130"/>
                <a:gd name="T37" fmla="*/ 65 h 142"/>
                <a:gd name="T38" fmla="*/ 79 w 130"/>
                <a:gd name="T39" fmla="*/ 90 h 142"/>
                <a:gd name="T40" fmla="*/ 78 w 130"/>
                <a:gd name="T41" fmla="*/ 110 h 142"/>
                <a:gd name="T42" fmla="*/ 65 w 130"/>
                <a:gd name="T43" fmla="*/ 142 h 142"/>
                <a:gd name="T44" fmla="*/ 97 w 130"/>
                <a:gd name="T45" fmla="*/ 36 h 142"/>
                <a:gd name="T46" fmla="*/ 95 w 130"/>
                <a:gd name="T47" fmla="*/ 31 h 142"/>
                <a:gd name="T48" fmla="*/ 97 w 130"/>
                <a:gd name="T49" fmla="*/ 94 h 142"/>
                <a:gd name="T50" fmla="*/ 95 w 130"/>
                <a:gd name="T51" fmla="*/ 100 h 142"/>
                <a:gd name="T52" fmla="*/ 97 w 130"/>
                <a:gd name="T53" fmla="*/ 94 h 142"/>
                <a:gd name="T54" fmla="*/ 65 w 130"/>
                <a:gd name="T55" fmla="*/ 0 h 142"/>
                <a:gd name="T56" fmla="*/ 68 w 130"/>
                <a:gd name="T57" fmla="*/ 3 h 142"/>
                <a:gd name="T58" fmla="*/ 65 w 130"/>
                <a:gd name="T59" fmla="*/ 23 h 142"/>
                <a:gd name="T60" fmla="*/ 65 w 130"/>
                <a:gd name="T61" fmla="*/ 23 h 142"/>
                <a:gd name="T62" fmla="*/ 32 w 130"/>
                <a:gd name="T63" fmla="*/ 50 h 142"/>
                <a:gd name="T64" fmla="*/ 45 w 130"/>
                <a:gd name="T65" fmla="*/ 96 h 142"/>
                <a:gd name="T66" fmla="*/ 63 w 130"/>
                <a:gd name="T67" fmla="*/ 142 h 142"/>
                <a:gd name="T68" fmla="*/ 65 w 130"/>
                <a:gd name="T69" fmla="*/ 110 h 142"/>
                <a:gd name="T70" fmla="*/ 52 w 130"/>
                <a:gd name="T71" fmla="*/ 93 h 142"/>
                <a:gd name="T72" fmla="*/ 36 w 130"/>
                <a:gd name="T73" fmla="*/ 65 h 142"/>
                <a:gd name="T74" fmla="*/ 65 w 130"/>
                <a:gd name="T75" fmla="*/ 37 h 142"/>
                <a:gd name="T76" fmla="*/ 65 w 130"/>
                <a:gd name="T77" fmla="*/ 29 h 142"/>
                <a:gd name="T78" fmla="*/ 65 w 130"/>
                <a:gd name="T79" fmla="*/ 0 h 142"/>
                <a:gd name="T80" fmla="*/ 62 w 130"/>
                <a:gd name="T81" fmla="*/ 20 h 142"/>
                <a:gd name="T82" fmla="*/ 65 w 130"/>
                <a:gd name="T83" fmla="*/ 0 h 142"/>
                <a:gd name="T84" fmla="*/ 32 w 130"/>
                <a:gd name="T85" fmla="*/ 94 h 142"/>
                <a:gd name="T86" fmla="*/ 35 w 130"/>
                <a:gd name="T87" fmla="*/ 100 h 142"/>
                <a:gd name="T88" fmla="*/ 32 w 130"/>
                <a:gd name="T89" fmla="*/ 36 h 142"/>
                <a:gd name="T90" fmla="*/ 35 w 130"/>
                <a:gd name="T91" fmla="*/ 31 h 142"/>
                <a:gd name="T92" fmla="*/ 32 w 130"/>
                <a:gd name="T93" fmla="*/ 36 h 142"/>
                <a:gd name="T94" fmla="*/ 29 w 130"/>
                <a:gd name="T95" fmla="*/ 65 h 142"/>
                <a:gd name="T96" fmla="*/ 32 w 130"/>
                <a:gd name="T97" fmla="*/ 50 h 142"/>
                <a:gd name="T98" fmla="*/ 32 w 130"/>
                <a:gd name="T99" fmla="*/ 36 h 142"/>
                <a:gd name="T100" fmla="*/ 30 w 130"/>
                <a:gd name="T101" fmla="*/ 35 h 142"/>
                <a:gd name="T102" fmla="*/ 19 w 130"/>
                <a:gd name="T103" fmla="*/ 19 h 142"/>
                <a:gd name="T104" fmla="*/ 32 w 130"/>
                <a:gd name="T105" fmla="*/ 28 h 142"/>
                <a:gd name="T106" fmla="*/ 32 w 130"/>
                <a:gd name="T107" fmla="*/ 103 h 142"/>
                <a:gd name="T108" fmla="*/ 19 w 130"/>
                <a:gd name="T109" fmla="*/ 112 h 142"/>
                <a:gd name="T110" fmla="*/ 30 w 130"/>
                <a:gd name="T111" fmla="*/ 95 h 142"/>
                <a:gd name="T112" fmla="*/ 32 w 130"/>
                <a:gd name="T113" fmla="*/ 94 h 142"/>
                <a:gd name="T114" fmla="*/ 22 w 130"/>
                <a:gd name="T115" fmla="*/ 65 h 142"/>
                <a:gd name="T116" fmla="*/ 3 w 130"/>
                <a:gd name="T117" fmla="*/ 62 h 142"/>
                <a:gd name="T118" fmla="*/ 3 w 130"/>
                <a:gd name="T119" fmla="*/ 69 h 142"/>
                <a:gd name="T120" fmla="*/ 22 w 130"/>
                <a:gd name="T121" fmla="*/ 6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" h="142">
                  <a:moveTo>
                    <a:pt x="97" y="81"/>
                  </a:moveTo>
                  <a:cubicBezTo>
                    <a:pt x="100" y="76"/>
                    <a:pt x="101" y="71"/>
                    <a:pt x="101" y="65"/>
                  </a:cubicBezTo>
                  <a:cubicBezTo>
                    <a:pt x="101" y="60"/>
                    <a:pt x="100" y="55"/>
                    <a:pt x="97" y="50"/>
                  </a:cubicBezTo>
                  <a:cubicBezTo>
                    <a:pt x="97" y="81"/>
                    <a:pt x="97" y="81"/>
                    <a:pt x="97" y="81"/>
                  </a:cubicBezTo>
                  <a:close/>
                  <a:moveTo>
                    <a:pt x="97" y="103"/>
                  </a:moveTo>
                  <a:cubicBezTo>
                    <a:pt x="97" y="94"/>
                    <a:pt x="97" y="94"/>
                    <a:pt x="97" y="94"/>
                  </a:cubicBezTo>
                  <a:cubicBezTo>
                    <a:pt x="98" y="94"/>
                    <a:pt x="99" y="95"/>
                    <a:pt x="100" y="95"/>
                  </a:cubicBezTo>
                  <a:cubicBezTo>
                    <a:pt x="100" y="95"/>
                    <a:pt x="100" y="95"/>
                    <a:pt x="100" y="95"/>
                  </a:cubicBezTo>
                  <a:cubicBezTo>
                    <a:pt x="111" y="107"/>
                    <a:pt x="111" y="107"/>
                    <a:pt x="111" y="107"/>
                  </a:cubicBezTo>
                  <a:cubicBezTo>
                    <a:pt x="113" y="108"/>
                    <a:pt x="113" y="110"/>
                    <a:pt x="111" y="112"/>
                  </a:cubicBezTo>
                  <a:cubicBezTo>
                    <a:pt x="110" y="113"/>
                    <a:pt x="108" y="113"/>
                    <a:pt x="106" y="112"/>
                  </a:cubicBezTo>
                  <a:cubicBezTo>
                    <a:pt x="97" y="103"/>
                    <a:pt x="97" y="103"/>
                    <a:pt x="97" y="103"/>
                  </a:cubicBezTo>
                  <a:close/>
                  <a:moveTo>
                    <a:pt x="97" y="36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8" y="18"/>
                    <a:pt x="110" y="18"/>
                    <a:pt x="111" y="19"/>
                  </a:cubicBezTo>
                  <a:cubicBezTo>
                    <a:pt x="113" y="20"/>
                    <a:pt x="113" y="23"/>
                    <a:pt x="111" y="24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99" y="36"/>
                    <a:pt x="98" y="36"/>
                    <a:pt x="97" y="36"/>
                  </a:cubicBezTo>
                  <a:close/>
                  <a:moveTo>
                    <a:pt x="127" y="62"/>
                  </a:moveTo>
                  <a:cubicBezTo>
                    <a:pt x="127" y="62"/>
                    <a:pt x="127" y="62"/>
                    <a:pt x="127" y="62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09" y="62"/>
                    <a:pt x="108" y="64"/>
                    <a:pt x="108" y="65"/>
                  </a:cubicBezTo>
                  <a:cubicBezTo>
                    <a:pt x="108" y="67"/>
                    <a:pt x="109" y="69"/>
                    <a:pt x="111" y="69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9" y="69"/>
                    <a:pt x="130" y="67"/>
                    <a:pt x="130" y="65"/>
                  </a:cubicBezTo>
                  <a:cubicBezTo>
                    <a:pt x="130" y="64"/>
                    <a:pt x="129" y="62"/>
                    <a:pt x="127" y="62"/>
                  </a:cubicBezTo>
                  <a:close/>
                  <a:moveTo>
                    <a:pt x="65" y="142"/>
                  </a:moveTo>
                  <a:cubicBezTo>
                    <a:pt x="67" y="142"/>
                    <a:pt x="67" y="142"/>
                    <a:pt x="67" y="142"/>
                  </a:cubicBezTo>
                  <a:cubicBezTo>
                    <a:pt x="77" y="142"/>
                    <a:pt x="85" y="134"/>
                    <a:pt x="85" y="124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90" y="92"/>
                    <a:pt x="95" y="87"/>
                    <a:pt x="97" y="81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2" y="38"/>
                    <a:pt x="79" y="29"/>
                    <a:pt x="65" y="29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73" y="37"/>
                    <a:pt x="80" y="40"/>
                    <a:pt x="85" y="45"/>
                  </a:cubicBezTo>
                  <a:cubicBezTo>
                    <a:pt x="90" y="50"/>
                    <a:pt x="93" y="57"/>
                    <a:pt x="93" y="65"/>
                  </a:cubicBezTo>
                  <a:cubicBezTo>
                    <a:pt x="93" y="76"/>
                    <a:pt x="88" y="85"/>
                    <a:pt x="79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8" y="91"/>
                    <a:pt x="78" y="92"/>
                    <a:pt x="78" y="93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65" y="110"/>
                    <a:pt x="65" y="110"/>
                    <a:pt x="65" y="110"/>
                  </a:cubicBezTo>
                  <a:cubicBezTo>
                    <a:pt x="65" y="142"/>
                    <a:pt x="65" y="142"/>
                    <a:pt x="65" y="142"/>
                  </a:cubicBezTo>
                  <a:close/>
                  <a:moveTo>
                    <a:pt x="97" y="28"/>
                  </a:move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6" y="36"/>
                    <a:pt x="95" y="35"/>
                  </a:cubicBezTo>
                  <a:cubicBezTo>
                    <a:pt x="94" y="34"/>
                    <a:pt x="94" y="32"/>
                    <a:pt x="95" y="31"/>
                  </a:cubicBezTo>
                  <a:cubicBezTo>
                    <a:pt x="97" y="28"/>
                    <a:pt x="97" y="28"/>
                    <a:pt x="97" y="28"/>
                  </a:cubicBezTo>
                  <a:close/>
                  <a:moveTo>
                    <a:pt x="97" y="94"/>
                  </a:moveTo>
                  <a:cubicBezTo>
                    <a:pt x="97" y="103"/>
                    <a:pt x="97" y="103"/>
                    <a:pt x="97" y="103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4" y="99"/>
                    <a:pt x="94" y="97"/>
                    <a:pt x="95" y="95"/>
                  </a:cubicBezTo>
                  <a:cubicBezTo>
                    <a:pt x="96" y="95"/>
                    <a:pt x="97" y="94"/>
                    <a:pt x="97" y="94"/>
                  </a:cubicBezTo>
                  <a:close/>
                  <a:moveTo>
                    <a:pt x="65" y="23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8" y="2"/>
                    <a:pt x="68" y="3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1"/>
                    <a:pt x="67" y="23"/>
                    <a:pt x="65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5" y="23"/>
                    <a:pt x="65" y="23"/>
                  </a:cubicBezTo>
                  <a:close/>
                  <a:moveTo>
                    <a:pt x="65" y="29"/>
                  </a:moveTo>
                  <a:cubicBezTo>
                    <a:pt x="50" y="29"/>
                    <a:pt x="38" y="37"/>
                    <a:pt x="32" y="5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5" y="87"/>
                    <a:pt x="40" y="92"/>
                    <a:pt x="45" y="96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34"/>
                    <a:pt x="53" y="142"/>
                    <a:pt x="63" y="142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5" y="110"/>
                    <a:pt x="65" y="110"/>
                    <a:pt x="65" y="110"/>
                  </a:cubicBezTo>
                  <a:cubicBezTo>
                    <a:pt x="52" y="110"/>
                    <a:pt x="52" y="110"/>
                    <a:pt x="52" y="110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2"/>
                    <a:pt x="52" y="91"/>
                    <a:pt x="51" y="90"/>
                  </a:cubicBezTo>
                  <a:cubicBezTo>
                    <a:pt x="42" y="85"/>
                    <a:pt x="36" y="76"/>
                    <a:pt x="36" y="65"/>
                  </a:cubicBezTo>
                  <a:cubicBezTo>
                    <a:pt x="36" y="57"/>
                    <a:pt x="39" y="50"/>
                    <a:pt x="44" y="45"/>
                  </a:cubicBezTo>
                  <a:cubicBezTo>
                    <a:pt x="50" y="40"/>
                    <a:pt x="57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lose/>
                  <a:moveTo>
                    <a:pt x="65" y="0"/>
                  </a:moveTo>
                  <a:cubicBezTo>
                    <a:pt x="65" y="23"/>
                    <a:pt x="65" y="23"/>
                    <a:pt x="65" y="23"/>
                  </a:cubicBezTo>
                  <a:cubicBezTo>
                    <a:pt x="63" y="23"/>
                    <a:pt x="62" y="21"/>
                    <a:pt x="62" y="2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2"/>
                    <a:pt x="63" y="0"/>
                    <a:pt x="65" y="0"/>
                  </a:cubicBezTo>
                  <a:close/>
                  <a:moveTo>
                    <a:pt x="32" y="103"/>
                  </a:moveTo>
                  <a:cubicBezTo>
                    <a:pt x="32" y="94"/>
                    <a:pt x="32" y="94"/>
                    <a:pt x="32" y="94"/>
                  </a:cubicBezTo>
                  <a:cubicBezTo>
                    <a:pt x="33" y="94"/>
                    <a:pt x="34" y="95"/>
                    <a:pt x="35" y="95"/>
                  </a:cubicBezTo>
                  <a:cubicBezTo>
                    <a:pt x="36" y="97"/>
                    <a:pt x="36" y="99"/>
                    <a:pt x="35" y="100"/>
                  </a:cubicBezTo>
                  <a:cubicBezTo>
                    <a:pt x="32" y="103"/>
                    <a:pt x="32" y="103"/>
                    <a:pt x="32" y="103"/>
                  </a:cubicBezTo>
                  <a:close/>
                  <a:moveTo>
                    <a:pt x="32" y="36"/>
                  </a:moveTo>
                  <a:cubicBezTo>
                    <a:pt x="32" y="28"/>
                    <a:pt x="32" y="28"/>
                    <a:pt x="32" y="28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2"/>
                    <a:pt x="36" y="34"/>
                    <a:pt x="35" y="35"/>
                  </a:cubicBezTo>
                  <a:cubicBezTo>
                    <a:pt x="34" y="36"/>
                    <a:pt x="33" y="36"/>
                    <a:pt x="32" y="36"/>
                  </a:cubicBezTo>
                  <a:close/>
                  <a:moveTo>
                    <a:pt x="32" y="50"/>
                  </a:moveTo>
                  <a:cubicBezTo>
                    <a:pt x="30" y="54"/>
                    <a:pt x="29" y="60"/>
                    <a:pt x="29" y="65"/>
                  </a:cubicBezTo>
                  <a:cubicBezTo>
                    <a:pt x="29" y="71"/>
                    <a:pt x="30" y="76"/>
                    <a:pt x="32" y="81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32" y="28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1" y="36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7" y="20"/>
                    <a:pt x="19" y="19"/>
                  </a:cubicBezTo>
                  <a:cubicBezTo>
                    <a:pt x="20" y="18"/>
                    <a:pt x="22" y="18"/>
                    <a:pt x="24" y="19"/>
                  </a:cubicBezTo>
                  <a:cubicBezTo>
                    <a:pt x="32" y="28"/>
                    <a:pt x="32" y="28"/>
                    <a:pt x="32" y="28"/>
                  </a:cubicBezTo>
                  <a:close/>
                  <a:moveTo>
                    <a:pt x="32" y="94"/>
                  </a:moveTo>
                  <a:cubicBezTo>
                    <a:pt x="32" y="103"/>
                    <a:pt x="32" y="103"/>
                    <a:pt x="32" y="103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2" y="113"/>
                    <a:pt x="20" y="113"/>
                    <a:pt x="19" y="112"/>
                  </a:cubicBezTo>
                  <a:cubicBezTo>
                    <a:pt x="17" y="110"/>
                    <a:pt x="17" y="108"/>
                    <a:pt x="19" y="107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1" y="95"/>
                    <a:pt x="32" y="95"/>
                    <a:pt x="32" y="94"/>
                  </a:cubicBezTo>
                  <a:close/>
                  <a:moveTo>
                    <a:pt x="22" y="65"/>
                  </a:moveTo>
                  <a:cubicBezTo>
                    <a:pt x="22" y="65"/>
                    <a:pt x="22" y="65"/>
                    <a:pt x="22" y="65"/>
                  </a:cubicBezTo>
                  <a:cubicBezTo>
                    <a:pt x="22" y="64"/>
                    <a:pt x="21" y="62"/>
                    <a:pt x="19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1" y="62"/>
                    <a:pt x="0" y="64"/>
                    <a:pt x="0" y="65"/>
                  </a:cubicBezTo>
                  <a:cubicBezTo>
                    <a:pt x="0" y="67"/>
                    <a:pt x="1" y="69"/>
                    <a:pt x="3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1" y="69"/>
                    <a:pt x="22" y="67"/>
                    <a:pt x="22" y="65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2" name="Freeform 81">
              <a:extLst>
                <a:ext uri="{FF2B5EF4-FFF2-40B4-BE49-F238E27FC236}">
                  <a16:creationId xmlns:a16="http://schemas.microsoft.com/office/drawing/2014/main" id="{6B3AAF87-D8DB-41C2-A957-19FAE2771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051" y="1635316"/>
              <a:ext cx="426927" cy="614203"/>
            </a:xfrm>
            <a:custGeom>
              <a:avLst/>
              <a:gdLst>
                <a:gd name="T0" fmla="*/ 98 w 196"/>
                <a:gd name="T1" fmla="*/ 5 h 282"/>
                <a:gd name="T2" fmla="*/ 113 w 196"/>
                <a:gd name="T3" fmla="*/ 0 h 282"/>
                <a:gd name="T4" fmla="*/ 155 w 196"/>
                <a:gd name="T5" fmla="*/ 128 h 282"/>
                <a:gd name="T6" fmla="*/ 108 w 196"/>
                <a:gd name="T7" fmla="*/ 143 h 282"/>
                <a:gd name="T8" fmla="*/ 98 w 196"/>
                <a:gd name="T9" fmla="*/ 111 h 282"/>
                <a:gd name="T10" fmla="*/ 98 w 196"/>
                <a:gd name="T11" fmla="*/ 5 h 282"/>
                <a:gd name="T12" fmla="*/ 98 w 196"/>
                <a:gd name="T13" fmla="*/ 222 h 282"/>
                <a:gd name="T14" fmla="*/ 136 w 196"/>
                <a:gd name="T15" fmla="*/ 209 h 282"/>
                <a:gd name="T16" fmla="*/ 107 w 196"/>
                <a:gd name="T17" fmla="*/ 209 h 282"/>
                <a:gd name="T18" fmla="*/ 107 w 196"/>
                <a:gd name="T19" fmla="*/ 192 h 282"/>
                <a:gd name="T20" fmla="*/ 152 w 196"/>
                <a:gd name="T21" fmla="*/ 192 h 282"/>
                <a:gd name="T22" fmla="*/ 189 w 196"/>
                <a:gd name="T23" fmla="*/ 192 h 282"/>
                <a:gd name="T24" fmla="*/ 196 w 196"/>
                <a:gd name="T25" fmla="*/ 192 h 282"/>
                <a:gd name="T26" fmla="*/ 196 w 196"/>
                <a:gd name="T27" fmla="*/ 209 h 282"/>
                <a:gd name="T28" fmla="*/ 180 w 196"/>
                <a:gd name="T29" fmla="*/ 209 h 282"/>
                <a:gd name="T30" fmla="*/ 134 w 196"/>
                <a:gd name="T31" fmla="*/ 247 h 282"/>
                <a:gd name="T32" fmla="*/ 169 w 196"/>
                <a:gd name="T33" fmla="*/ 267 h 282"/>
                <a:gd name="T34" fmla="*/ 169 w 196"/>
                <a:gd name="T35" fmla="*/ 282 h 282"/>
                <a:gd name="T36" fmla="*/ 98 w 196"/>
                <a:gd name="T37" fmla="*/ 282 h 282"/>
                <a:gd name="T38" fmla="*/ 98 w 196"/>
                <a:gd name="T39" fmla="*/ 268 h 282"/>
                <a:gd name="T40" fmla="*/ 111 w 196"/>
                <a:gd name="T41" fmla="*/ 255 h 282"/>
                <a:gd name="T42" fmla="*/ 98 w 196"/>
                <a:gd name="T43" fmla="*/ 242 h 282"/>
                <a:gd name="T44" fmla="*/ 98 w 196"/>
                <a:gd name="T45" fmla="*/ 222 h 282"/>
                <a:gd name="T46" fmla="*/ 67 w 196"/>
                <a:gd name="T47" fmla="*/ 15 h 282"/>
                <a:gd name="T48" fmla="*/ 98 w 196"/>
                <a:gd name="T49" fmla="*/ 5 h 282"/>
                <a:gd name="T50" fmla="*/ 98 w 196"/>
                <a:gd name="T51" fmla="*/ 111 h 282"/>
                <a:gd name="T52" fmla="*/ 92 w 196"/>
                <a:gd name="T53" fmla="*/ 92 h 282"/>
                <a:gd name="T54" fmla="*/ 33 w 196"/>
                <a:gd name="T55" fmla="*/ 157 h 282"/>
                <a:gd name="T56" fmla="*/ 98 w 196"/>
                <a:gd name="T57" fmla="*/ 222 h 282"/>
                <a:gd name="T58" fmla="*/ 98 w 196"/>
                <a:gd name="T59" fmla="*/ 222 h 282"/>
                <a:gd name="T60" fmla="*/ 98 w 196"/>
                <a:gd name="T61" fmla="*/ 242 h 282"/>
                <a:gd name="T62" fmla="*/ 85 w 196"/>
                <a:gd name="T63" fmla="*/ 255 h 282"/>
                <a:gd name="T64" fmla="*/ 98 w 196"/>
                <a:gd name="T65" fmla="*/ 268 h 282"/>
                <a:gd name="T66" fmla="*/ 98 w 196"/>
                <a:gd name="T67" fmla="*/ 282 h 282"/>
                <a:gd name="T68" fmla="*/ 27 w 196"/>
                <a:gd name="T69" fmla="*/ 282 h 282"/>
                <a:gd name="T70" fmla="*/ 27 w 196"/>
                <a:gd name="T71" fmla="*/ 267 h 282"/>
                <a:gd name="T72" fmla="*/ 61 w 196"/>
                <a:gd name="T73" fmla="*/ 247 h 282"/>
                <a:gd name="T74" fmla="*/ 0 w 196"/>
                <a:gd name="T75" fmla="*/ 157 h 282"/>
                <a:gd name="T76" fmla="*/ 82 w 196"/>
                <a:gd name="T77" fmla="*/ 61 h 282"/>
                <a:gd name="T78" fmla="*/ 67 w 196"/>
                <a:gd name="T79" fmla="*/ 1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6" h="282">
                  <a:moveTo>
                    <a:pt x="98" y="5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55" y="128"/>
                    <a:pt x="155" y="128"/>
                    <a:pt x="155" y="128"/>
                  </a:cubicBezTo>
                  <a:cubicBezTo>
                    <a:pt x="108" y="143"/>
                    <a:pt x="108" y="143"/>
                    <a:pt x="108" y="143"/>
                  </a:cubicBezTo>
                  <a:cubicBezTo>
                    <a:pt x="98" y="111"/>
                    <a:pt x="98" y="111"/>
                    <a:pt x="98" y="111"/>
                  </a:cubicBezTo>
                  <a:cubicBezTo>
                    <a:pt x="98" y="5"/>
                    <a:pt x="98" y="5"/>
                    <a:pt x="98" y="5"/>
                  </a:cubicBezTo>
                  <a:close/>
                  <a:moveTo>
                    <a:pt x="98" y="222"/>
                  </a:moveTo>
                  <a:cubicBezTo>
                    <a:pt x="112" y="222"/>
                    <a:pt x="125" y="217"/>
                    <a:pt x="136" y="209"/>
                  </a:cubicBezTo>
                  <a:cubicBezTo>
                    <a:pt x="107" y="209"/>
                    <a:pt x="107" y="209"/>
                    <a:pt x="107" y="209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189" y="192"/>
                    <a:pt x="189" y="192"/>
                    <a:pt x="189" y="192"/>
                  </a:cubicBezTo>
                  <a:cubicBezTo>
                    <a:pt x="196" y="192"/>
                    <a:pt x="196" y="192"/>
                    <a:pt x="196" y="192"/>
                  </a:cubicBezTo>
                  <a:cubicBezTo>
                    <a:pt x="196" y="209"/>
                    <a:pt x="196" y="209"/>
                    <a:pt x="196" y="209"/>
                  </a:cubicBezTo>
                  <a:cubicBezTo>
                    <a:pt x="180" y="209"/>
                    <a:pt x="180" y="209"/>
                    <a:pt x="180" y="209"/>
                  </a:cubicBezTo>
                  <a:cubicBezTo>
                    <a:pt x="169" y="226"/>
                    <a:pt x="153" y="239"/>
                    <a:pt x="134" y="247"/>
                  </a:cubicBezTo>
                  <a:cubicBezTo>
                    <a:pt x="154" y="251"/>
                    <a:pt x="169" y="257"/>
                    <a:pt x="169" y="267"/>
                  </a:cubicBezTo>
                  <a:cubicBezTo>
                    <a:pt x="169" y="282"/>
                    <a:pt x="169" y="282"/>
                    <a:pt x="169" y="282"/>
                  </a:cubicBezTo>
                  <a:cubicBezTo>
                    <a:pt x="98" y="282"/>
                    <a:pt x="98" y="282"/>
                    <a:pt x="98" y="282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105" y="268"/>
                    <a:pt x="111" y="262"/>
                    <a:pt x="111" y="255"/>
                  </a:cubicBezTo>
                  <a:cubicBezTo>
                    <a:pt x="111" y="248"/>
                    <a:pt x="105" y="242"/>
                    <a:pt x="98" y="242"/>
                  </a:cubicBezTo>
                  <a:lnTo>
                    <a:pt x="98" y="222"/>
                  </a:lnTo>
                  <a:close/>
                  <a:moveTo>
                    <a:pt x="67" y="15"/>
                  </a:moveTo>
                  <a:cubicBezTo>
                    <a:pt x="98" y="5"/>
                    <a:pt x="98" y="5"/>
                    <a:pt x="98" y="5"/>
                  </a:cubicBezTo>
                  <a:cubicBezTo>
                    <a:pt x="98" y="111"/>
                    <a:pt x="98" y="111"/>
                    <a:pt x="98" y="111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59" y="95"/>
                    <a:pt x="33" y="123"/>
                    <a:pt x="33" y="157"/>
                  </a:cubicBezTo>
                  <a:cubicBezTo>
                    <a:pt x="33" y="193"/>
                    <a:pt x="62" y="222"/>
                    <a:pt x="98" y="222"/>
                  </a:cubicBezTo>
                  <a:cubicBezTo>
                    <a:pt x="98" y="222"/>
                    <a:pt x="98" y="222"/>
                    <a:pt x="98" y="222"/>
                  </a:cubicBezTo>
                  <a:cubicBezTo>
                    <a:pt x="98" y="242"/>
                    <a:pt x="98" y="242"/>
                    <a:pt x="98" y="242"/>
                  </a:cubicBezTo>
                  <a:cubicBezTo>
                    <a:pt x="91" y="242"/>
                    <a:pt x="85" y="248"/>
                    <a:pt x="85" y="255"/>
                  </a:cubicBezTo>
                  <a:cubicBezTo>
                    <a:pt x="85" y="262"/>
                    <a:pt x="91" y="268"/>
                    <a:pt x="98" y="268"/>
                  </a:cubicBezTo>
                  <a:cubicBezTo>
                    <a:pt x="98" y="282"/>
                    <a:pt x="98" y="282"/>
                    <a:pt x="98" y="282"/>
                  </a:cubicBezTo>
                  <a:cubicBezTo>
                    <a:pt x="27" y="282"/>
                    <a:pt x="27" y="282"/>
                    <a:pt x="27" y="282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27" y="257"/>
                    <a:pt x="41" y="251"/>
                    <a:pt x="61" y="247"/>
                  </a:cubicBezTo>
                  <a:cubicBezTo>
                    <a:pt x="26" y="233"/>
                    <a:pt x="0" y="198"/>
                    <a:pt x="0" y="157"/>
                  </a:cubicBezTo>
                  <a:cubicBezTo>
                    <a:pt x="0" y="108"/>
                    <a:pt x="36" y="68"/>
                    <a:pt x="82" y="61"/>
                  </a:cubicBezTo>
                  <a:lnTo>
                    <a:pt x="67" y="15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3" name="Freeform 82">
              <a:extLst>
                <a:ext uri="{FF2B5EF4-FFF2-40B4-BE49-F238E27FC236}">
                  <a16:creationId xmlns:a16="http://schemas.microsoft.com/office/drawing/2014/main" id="{3E7D3470-5833-4EEE-AB93-B682D1C05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01691" y="1548027"/>
              <a:ext cx="245999" cy="217432"/>
            </a:xfrm>
            <a:custGeom>
              <a:avLst/>
              <a:gdLst>
                <a:gd name="T0" fmla="*/ 103 w 113"/>
                <a:gd name="T1" fmla="*/ 31 h 100"/>
                <a:gd name="T2" fmla="*/ 57 w 113"/>
                <a:gd name="T3" fmla="*/ 0 h 100"/>
                <a:gd name="T4" fmla="*/ 57 w 113"/>
                <a:gd name="T5" fmla="*/ 9 h 100"/>
                <a:gd name="T6" fmla="*/ 95 w 113"/>
                <a:gd name="T7" fmla="*/ 35 h 100"/>
                <a:gd name="T8" fmla="*/ 72 w 113"/>
                <a:gd name="T9" fmla="*/ 88 h 100"/>
                <a:gd name="T10" fmla="*/ 57 w 113"/>
                <a:gd name="T11" fmla="*/ 91 h 100"/>
                <a:gd name="T12" fmla="*/ 57 w 113"/>
                <a:gd name="T13" fmla="*/ 100 h 100"/>
                <a:gd name="T14" fmla="*/ 75 w 113"/>
                <a:gd name="T15" fmla="*/ 96 h 100"/>
                <a:gd name="T16" fmla="*/ 103 w 113"/>
                <a:gd name="T17" fmla="*/ 31 h 100"/>
                <a:gd name="T18" fmla="*/ 57 w 113"/>
                <a:gd name="T19" fmla="*/ 0 h 100"/>
                <a:gd name="T20" fmla="*/ 38 w 113"/>
                <a:gd name="T21" fmla="*/ 4 h 100"/>
                <a:gd name="T22" fmla="*/ 11 w 113"/>
                <a:gd name="T23" fmla="*/ 68 h 100"/>
                <a:gd name="T24" fmla="*/ 57 w 113"/>
                <a:gd name="T25" fmla="*/ 100 h 100"/>
                <a:gd name="T26" fmla="*/ 57 w 113"/>
                <a:gd name="T27" fmla="*/ 91 h 100"/>
                <a:gd name="T28" fmla="*/ 19 w 113"/>
                <a:gd name="T29" fmla="*/ 65 h 100"/>
                <a:gd name="T30" fmla="*/ 19 w 113"/>
                <a:gd name="T31" fmla="*/ 65 h 100"/>
                <a:gd name="T32" fmla="*/ 42 w 113"/>
                <a:gd name="T33" fmla="*/ 12 h 100"/>
                <a:gd name="T34" fmla="*/ 57 w 113"/>
                <a:gd name="T35" fmla="*/ 9 h 100"/>
                <a:gd name="T36" fmla="*/ 57 w 113"/>
                <a:gd name="T3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100">
                  <a:moveTo>
                    <a:pt x="103" y="31"/>
                  </a:moveTo>
                  <a:cubicBezTo>
                    <a:pt x="95" y="12"/>
                    <a:pt x="77" y="0"/>
                    <a:pt x="57" y="0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73" y="9"/>
                    <a:pt x="88" y="19"/>
                    <a:pt x="95" y="35"/>
                  </a:cubicBezTo>
                  <a:cubicBezTo>
                    <a:pt x="103" y="56"/>
                    <a:pt x="93" y="79"/>
                    <a:pt x="72" y="88"/>
                  </a:cubicBezTo>
                  <a:cubicBezTo>
                    <a:pt x="67" y="90"/>
                    <a:pt x="62" y="91"/>
                    <a:pt x="57" y="91"/>
                  </a:cubicBezTo>
                  <a:cubicBezTo>
                    <a:pt x="57" y="100"/>
                    <a:pt x="57" y="100"/>
                    <a:pt x="57" y="100"/>
                  </a:cubicBezTo>
                  <a:cubicBezTo>
                    <a:pt x="63" y="100"/>
                    <a:pt x="69" y="99"/>
                    <a:pt x="75" y="96"/>
                  </a:cubicBezTo>
                  <a:cubicBezTo>
                    <a:pt x="101" y="86"/>
                    <a:pt x="113" y="57"/>
                    <a:pt x="103" y="31"/>
                  </a:cubicBezTo>
                  <a:close/>
                  <a:moveTo>
                    <a:pt x="57" y="0"/>
                  </a:moveTo>
                  <a:cubicBezTo>
                    <a:pt x="51" y="0"/>
                    <a:pt x="44" y="1"/>
                    <a:pt x="38" y="4"/>
                  </a:cubicBezTo>
                  <a:cubicBezTo>
                    <a:pt x="13" y="14"/>
                    <a:pt x="0" y="43"/>
                    <a:pt x="11" y="68"/>
                  </a:cubicBezTo>
                  <a:cubicBezTo>
                    <a:pt x="18" y="88"/>
                    <a:pt x="37" y="100"/>
                    <a:pt x="57" y="10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41" y="90"/>
                    <a:pt x="26" y="81"/>
                    <a:pt x="19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1" y="44"/>
                    <a:pt x="21" y="21"/>
                    <a:pt x="42" y="12"/>
                  </a:cubicBezTo>
                  <a:cubicBezTo>
                    <a:pt x="47" y="10"/>
                    <a:pt x="52" y="9"/>
                    <a:pt x="57" y="9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4" name="Freeform 83">
              <a:extLst>
                <a:ext uri="{FF2B5EF4-FFF2-40B4-BE49-F238E27FC236}">
                  <a16:creationId xmlns:a16="http://schemas.microsoft.com/office/drawing/2014/main" id="{64CCD2CC-D758-493B-808C-E82C3A85CBFA}"/>
                </a:ext>
              </a:extLst>
            </p:cNvPr>
            <p:cNvSpPr/>
            <p:nvPr/>
          </p:nvSpPr>
          <p:spPr bwMode="auto">
            <a:xfrm>
              <a:off x="7331860" y="1678168"/>
              <a:ext cx="107921" cy="68245"/>
            </a:xfrm>
            <a:custGeom>
              <a:avLst/>
              <a:gdLst>
                <a:gd name="T0" fmla="*/ 7 w 68"/>
                <a:gd name="T1" fmla="*/ 43 h 43"/>
                <a:gd name="T2" fmla="*/ 0 w 68"/>
                <a:gd name="T3" fmla="*/ 25 h 43"/>
                <a:gd name="T4" fmla="*/ 62 w 68"/>
                <a:gd name="T5" fmla="*/ 0 h 43"/>
                <a:gd name="T6" fmla="*/ 68 w 68"/>
                <a:gd name="T7" fmla="*/ 18 h 43"/>
                <a:gd name="T8" fmla="*/ 7 w 68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3">
                  <a:moveTo>
                    <a:pt x="7" y="43"/>
                  </a:moveTo>
                  <a:lnTo>
                    <a:pt x="0" y="25"/>
                  </a:lnTo>
                  <a:lnTo>
                    <a:pt x="62" y="0"/>
                  </a:lnTo>
                  <a:lnTo>
                    <a:pt x="68" y="18"/>
                  </a:lnTo>
                  <a:lnTo>
                    <a:pt x="7" y="43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5" name="Freeform 84">
              <a:extLst>
                <a:ext uri="{FF2B5EF4-FFF2-40B4-BE49-F238E27FC236}">
                  <a16:creationId xmlns:a16="http://schemas.microsoft.com/office/drawing/2014/main" id="{F1377192-04E0-4BF5-980C-82993DF7C823}"/>
                </a:ext>
              </a:extLst>
            </p:cNvPr>
            <p:cNvSpPr/>
            <p:nvPr/>
          </p:nvSpPr>
          <p:spPr bwMode="auto">
            <a:xfrm>
              <a:off x="7263615" y="1687691"/>
              <a:ext cx="146012" cy="88877"/>
            </a:xfrm>
            <a:custGeom>
              <a:avLst/>
              <a:gdLst>
                <a:gd name="T0" fmla="*/ 16 w 67"/>
                <a:gd name="T1" fmla="*/ 39 h 41"/>
                <a:gd name="T2" fmla="*/ 2 w 67"/>
                <a:gd name="T3" fmla="*/ 33 h 41"/>
                <a:gd name="T4" fmla="*/ 8 w 67"/>
                <a:gd name="T5" fmla="*/ 19 h 41"/>
                <a:gd name="T6" fmla="*/ 50 w 67"/>
                <a:gd name="T7" fmla="*/ 2 h 41"/>
                <a:gd name="T8" fmla="*/ 64 w 67"/>
                <a:gd name="T9" fmla="*/ 8 h 41"/>
                <a:gd name="T10" fmla="*/ 58 w 67"/>
                <a:gd name="T11" fmla="*/ 22 h 41"/>
                <a:gd name="T12" fmla="*/ 16 w 67"/>
                <a:gd name="T13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41">
                  <a:moveTo>
                    <a:pt x="16" y="39"/>
                  </a:moveTo>
                  <a:cubicBezTo>
                    <a:pt x="10" y="41"/>
                    <a:pt x="4" y="39"/>
                    <a:pt x="2" y="33"/>
                  </a:cubicBezTo>
                  <a:cubicBezTo>
                    <a:pt x="0" y="28"/>
                    <a:pt x="2" y="21"/>
                    <a:pt x="8" y="19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6" y="0"/>
                    <a:pt x="62" y="3"/>
                    <a:pt x="64" y="8"/>
                  </a:cubicBezTo>
                  <a:cubicBezTo>
                    <a:pt x="67" y="14"/>
                    <a:pt x="64" y="20"/>
                    <a:pt x="58" y="22"/>
                  </a:cubicBezTo>
                  <a:lnTo>
                    <a:pt x="16" y="39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6" name="Freeform 85">
              <a:extLst>
                <a:ext uri="{FF2B5EF4-FFF2-40B4-BE49-F238E27FC236}">
                  <a16:creationId xmlns:a16="http://schemas.microsoft.com/office/drawing/2014/main" id="{3CFA6CFC-DD59-49C3-96A8-5C9269FF0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9499" y="2846263"/>
              <a:ext cx="445972" cy="158709"/>
            </a:xfrm>
            <a:custGeom>
              <a:avLst/>
              <a:gdLst>
                <a:gd name="T0" fmla="*/ 142 w 205"/>
                <a:gd name="T1" fmla="*/ 5 h 73"/>
                <a:gd name="T2" fmla="*/ 157 w 205"/>
                <a:gd name="T3" fmla="*/ 2 h 73"/>
                <a:gd name="T4" fmla="*/ 164 w 205"/>
                <a:gd name="T5" fmla="*/ 5 h 73"/>
                <a:gd name="T6" fmla="*/ 179 w 205"/>
                <a:gd name="T7" fmla="*/ 2 h 73"/>
                <a:gd name="T8" fmla="*/ 202 w 205"/>
                <a:gd name="T9" fmla="*/ 18 h 73"/>
                <a:gd name="T10" fmla="*/ 187 w 205"/>
                <a:gd name="T11" fmla="*/ 42 h 73"/>
                <a:gd name="T12" fmla="*/ 177 w 205"/>
                <a:gd name="T13" fmla="*/ 43 h 73"/>
                <a:gd name="T14" fmla="*/ 166 w 205"/>
                <a:gd name="T15" fmla="*/ 18 h 73"/>
                <a:gd name="T16" fmla="*/ 172 w 205"/>
                <a:gd name="T17" fmla="*/ 45 h 73"/>
                <a:gd name="T18" fmla="*/ 167 w 205"/>
                <a:gd name="T19" fmla="*/ 50 h 73"/>
                <a:gd name="T20" fmla="*/ 142 w 205"/>
                <a:gd name="T21" fmla="*/ 55 h 73"/>
                <a:gd name="T22" fmla="*/ 142 w 205"/>
                <a:gd name="T23" fmla="*/ 20 h 73"/>
                <a:gd name="T24" fmla="*/ 158 w 205"/>
                <a:gd name="T25" fmla="*/ 17 h 73"/>
                <a:gd name="T26" fmla="*/ 163 w 205"/>
                <a:gd name="T27" fmla="*/ 19 h 73"/>
                <a:gd name="T28" fmla="*/ 161 w 205"/>
                <a:gd name="T29" fmla="*/ 9 h 73"/>
                <a:gd name="T30" fmla="*/ 155 w 205"/>
                <a:gd name="T31" fmla="*/ 5 h 73"/>
                <a:gd name="T32" fmla="*/ 142 w 205"/>
                <a:gd name="T33" fmla="*/ 8 h 73"/>
                <a:gd name="T34" fmla="*/ 142 w 205"/>
                <a:gd name="T35" fmla="*/ 5 h 73"/>
                <a:gd name="T36" fmla="*/ 28 w 205"/>
                <a:gd name="T37" fmla="*/ 30 h 73"/>
                <a:gd name="T38" fmla="*/ 116 w 205"/>
                <a:gd name="T39" fmla="*/ 13 h 73"/>
                <a:gd name="T40" fmla="*/ 121 w 205"/>
                <a:gd name="T41" fmla="*/ 9 h 73"/>
                <a:gd name="T42" fmla="*/ 142 w 205"/>
                <a:gd name="T43" fmla="*/ 5 h 73"/>
                <a:gd name="T44" fmla="*/ 142 w 205"/>
                <a:gd name="T45" fmla="*/ 8 h 73"/>
                <a:gd name="T46" fmla="*/ 124 w 205"/>
                <a:gd name="T47" fmla="*/ 11 h 73"/>
                <a:gd name="T48" fmla="*/ 120 w 205"/>
                <a:gd name="T49" fmla="*/ 17 h 73"/>
                <a:gd name="T50" fmla="*/ 122 w 205"/>
                <a:gd name="T51" fmla="*/ 28 h 73"/>
                <a:gd name="T52" fmla="*/ 122 w 205"/>
                <a:gd name="T53" fmla="*/ 28 h 73"/>
                <a:gd name="T54" fmla="*/ 126 w 205"/>
                <a:gd name="T55" fmla="*/ 24 h 73"/>
                <a:gd name="T56" fmla="*/ 142 w 205"/>
                <a:gd name="T57" fmla="*/ 20 h 73"/>
                <a:gd name="T58" fmla="*/ 142 w 205"/>
                <a:gd name="T59" fmla="*/ 55 h 73"/>
                <a:gd name="T60" fmla="*/ 130 w 205"/>
                <a:gd name="T61" fmla="*/ 57 h 73"/>
                <a:gd name="T62" fmla="*/ 125 w 205"/>
                <a:gd name="T63" fmla="*/ 56 h 73"/>
                <a:gd name="T64" fmla="*/ 35 w 205"/>
                <a:gd name="T65" fmla="*/ 73 h 73"/>
                <a:gd name="T66" fmla="*/ 28 w 205"/>
                <a:gd name="T67" fmla="*/ 70 h 73"/>
                <a:gd name="T68" fmla="*/ 28 w 205"/>
                <a:gd name="T69" fmla="*/ 67 h 73"/>
                <a:gd name="T70" fmla="*/ 35 w 205"/>
                <a:gd name="T71" fmla="*/ 70 h 73"/>
                <a:gd name="T72" fmla="*/ 35 w 205"/>
                <a:gd name="T73" fmla="*/ 70 h 73"/>
                <a:gd name="T74" fmla="*/ 37 w 205"/>
                <a:gd name="T75" fmla="*/ 70 h 73"/>
                <a:gd name="T76" fmla="*/ 42 w 205"/>
                <a:gd name="T77" fmla="*/ 62 h 73"/>
                <a:gd name="T78" fmla="*/ 36 w 205"/>
                <a:gd name="T79" fmla="*/ 57 h 73"/>
                <a:gd name="T80" fmla="*/ 40 w 205"/>
                <a:gd name="T81" fmla="*/ 50 h 73"/>
                <a:gd name="T82" fmla="*/ 34 w 205"/>
                <a:gd name="T83" fmla="*/ 45 h 73"/>
                <a:gd name="T84" fmla="*/ 37 w 205"/>
                <a:gd name="T85" fmla="*/ 38 h 73"/>
                <a:gd name="T86" fmla="*/ 30 w 205"/>
                <a:gd name="T87" fmla="*/ 33 h 73"/>
                <a:gd name="T88" fmla="*/ 28 w 205"/>
                <a:gd name="T89" fmla="*/ 33 h 73"/>
                <a:gd name="T90" fmla="*/ 28 w 205"/>
                <a:gd name="T91" fmla="*/ 34 h 73"/>
                <a:gd name="T92" fmla="*/ 28 w 205"/>
                <a:gd name="T93" fmla="*/ 30 h 73"/>
                <a:gd name="T94" fmla="*/ 26 w 205"/>
                <a:gd name="T95" fmla="*/ 31 h 73"/>
                <a:gd name="T96" fmla="*/ 28 w 205"/>
                <a:gd name="T97" fmla="*/ 30 h 73"/>
                <a:gd name="T98" fmla="*/ 28 w 205"/>
                <a:gd name="T99" fmla="*/ 34 h 73"/>
                <a:gd name="T100" fmla="*/ 13 w 205"/>
                <a:gd name="T101" fmla="*/ 49 h 73"/>
                <a:gd name="T102" fmla="*/ 15 w 205"/>
                <a:gd name="T103" fmla="*/ 62 h 73"/>
                <a:gd name="T104" fmla="*/ 28 w 205"/>
                <a:gd name="T105" fmla="*/ 67 h 73"/>
                <a:gd name="T106" fmla="*/ 28 w 205"/>
                <a:gd name="T107" fmla="*/ 70 h 73"/>
                <a:gd name="T108" fmla="*/ 0 w 205"/>
                <a:gd name="T109" fmla="*/ 58 h 73"/>
                <a:gd name="T110" fmla="*/ 26 w 205"/>
                <a:gd name="T111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5" h="73">
                  <a:moveTo>
                    <a:pt x="142" y="5"/>
                  </a:moveTo>
                  <a:cubicBezTo>
                    <a:pt x="157" y="2"/>
                    <a:pt x="157" y="2"/>
                    <a:pt x="157" y="2"/>
                  </a:cubicBezTo>
                  <a:cubicBezTo>
                    <a:pt x="160" y="1"/>
                    <a:pt x="163" y="3"/>
                    <a:pt x="164" y="5"/>
                  </a:cubicBezTo>
                  <a:cubicBezTo>
                    <a:pt x="179" y="2"/>
                    <a:pt x="179" y="2"/>
                    <a:pt x="179" y="2"/>
                  </a:cubicBezTo>
                  <a:cubicBezTo>
                    <a:pt x="190" y="0"/>
                    <a:pt x="200" y="7"/>
                    <a:pt x="202" y="18"/>
                  </a:cubicBezTo>
                  <a:cubicBezTo>
                    <a:pt x="205" y="29"/>
                    <a:pt x="197" y="39"/>
                    <a:pt x="187" y="42"/>
                  </a:cubicBezTo>
                  <a:cubicBezTo>
                    <a:pt x="177" y="43"/>
                    <a:pt x="177" y="43"/>
                    <a:pt x="177" y="43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72" y="47"/>
                    <a:pt x="170" y="50"/>
                    <a:pt x="167" y="50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60" y="17"/>
                    <a:pt x="162" y="18"/>
                    <a:pt x="163" y="19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1" y="6"/>
                    <a:pt x="158" y="5"/>
                    <a:pt x="155" y="5"/>
                  </a:cubicBezTo>
                  <a:cubicBezTo>
                    <a:pt x="142" y="8"/>
                    <a:pt x="142" y="8"/>
                    <a:pt x="142" y="8"/>
                  </a:cubicBezTo>
                  <a:lnTo>
                    <a:pt x="142" y="5"/>
                  </a:lnTo>
                  <a:close/>
                  <a:moveTo>
                    <a:pt x="28" y="30"/>
                  </a:moveTo>
                  <a:cubicBezTo>
                    <a:pt x="116" y="13"/>
                    <a:pt x="116" y="13"/>
                    <a:pt x="116" y="13"/>
                  </a:cubicBezTo>
                  <a:cubicBezTo>
                    <a:pt x="117" y="11"/>
                    <a:pt x="119" y="9"/>
                    <a:pt x="121" y="9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1" y="12"/>
                    <a:pt x="119" y="15"/>
                    <a:pt x="120" y="17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6"/>
                    <a:pt x="124" y="24"/>
                    <a:pt x="126" y="24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8" y="58"/>
                    <a:pt x="126" y="57"/>
                    <a:pt x="125" y="56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41" y="69"/>
                    <a:pt x="43" y="66"/>
                    <a:pt x="42" y="62"/>
                  </a:cubicBezTo>
                  <a:cubicBezTo>
                    <a:pt x="42" y="59"/>
                    <a:pt x="39" y="57"/>
                    <a:pt x="36" y="57"/>
                  </a:cubicBezTo>
                  <a:cubicBezTo>
                    <a:pt x="39" y="56"/>
                    <a:pt x="40" y="53"/>
                    <a:pt x="40" y="50"/>
                  </a:cubicBezTo>
                  <a:cubicBezTo>
                    <a:pt x="39" y="47"/>
                    <a:pt x="37" y="45"/>
                    <a:pt x="34" y="45"/>
                  </a:cubicBezTo>
                  <a:cubicBezTo>
                    <a:pt x="36" y="44"/>
                    <a:pt x="38" y="41"/>
                    <a:pt x="37" y="38"/>
                  </a:cubicBezTo>
                  <a:cubicBezTo>
                    <a:pt x="37" y="34"/>
                    <a:pt x="33" y="32"/>
                    <a:pt x="30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lnTo>
                    <a:pt x="28" y="30"/>
                  </a:lnTo>
                  <a:close/>
                  <a:moveTo>
                    <a:pt x="26" y="31"/>
                  </a:moveTo>
                  <a:cubicBezTo>
                    <a:pt x="28" y="30"/>
                    <a:pt x="28" y="30"/>
                    <a:pt x="28" y="30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26" y="31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7" name="Freeform 86">
              <a:extLst>
                <a:ext uri="{FF2B5EF4-FFF2-40B4-BE49-F238E27FC236}">
                  <a16:creationId xmlns:a16="http://schemas.microsoft.com/office/drawing/2014/main" id="{1247985B-CE33-4F7E-B7B6-7AF9C031D609}"/>
                </a:ext>
              </a:extLst>
            </p:cNvPr>
            <p:cNvSpPr/>
            <p:nvPr/>
          </p:nvSpPr>
          <p:spPr bwMode="auto">
            <a:xfrm>
              <a:off x="9026869" y="3255733"/>
              <a:ext cx="245999" cy="315831"/>
            </a:xfrm>
            <a:custGeom>
              <a:avLst/>
              <a:gdLst>
                <a:gd name="T0" fmla="*/ 113 w 113"/>
                <a:gd name="T1" fmla="*/ 25 h 145"/>
                <a:gd name="T2" fmla="*/ 108 w 113"/>
                <a:gd name="T3" fmla="*/ 22 h 145"/>
                <a:gd name="T4" fmla="*/ 42 w 113"/>
                <a:gd name="T5" fmla="*/ 128 h 145"/>
                <a:gd name="T6" fmla="*/ 19 w 113"/>
                <a:gd name="T7" fmla="*/ 132 h 145"/>
                <a:gd name="T8" fmla="*/ 12 w 113"/>
                <a:gd name="T9" fmla="*/ 109 h 145"/>
                <a:gd name="T10" fmla="*/ 78 w 113"/>
                <a:gd name="T11" fmla="*/ 3 h 145"/>
                <a:gd name="T12" fmla="*/ 73 w 113"/>
                <a:gd name="T13" fmla="*/ 0 h 145"/>
                <a:gd name="T14" fmla="*/ 6 w 113"/>
                <a:gd name="T15" fmla="*/ 107 h 145"/>
                <a:gd name="T16" fmla="*/ 15 w 113"/>
                <a:gd name="T17" fmla="*/ 138 h 145"/>
                <a:gd name="T18" fmla="*/ 47 w 113"/>
                <a:gd name="T19" fmla="*/ 132 h 145"/>
                <a:gd name="T20" fmla="*/ 113 w 113"/>
                <a:gd name="T21" fmla="*/ 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45">
                  <a:moveTo>
                    <a:pt x="113" y="25"/>
                  </a:moveTo>
                  <a:cubicBezTo>
                    <a:pt x="108" y="22"/>
                    <a:pt x="108" y="22"/>
                    <a:pt x="108" y="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8" y="135"/>
                    <a:pt x="27" y="137"/>
                    <a:pt x="19" y="132"/>
                  </a:cubicBezTo>
                  <a:cubicBezTo>
                    <a:pt x="11" y="127"/>
                    <a:pt x="8" y="117"/>
                    <a:pt x="12" y="109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0" y="117"/>
                    <a:pt x="4" y="131"/>
                    <a:pt x="15" y="138"/>
                  </a:cubicBezTo>
                  <a:cubicBezTo>
                    <a:pt x="26" y="145"/>
                    <a:pt x="40" y="142"/>
                    <a:pt x="47" y="132"/>
                  </a:cubicBezTo>
                  <a:lnTo>
                    <a:pt x="113" y="25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8" name="Freeform 87">
              <a:extLst>
                <a:ext uri="{FF2B5EF4-FFF2-40B4-BE49-F238E27FC236}">
                  <a16:creationId xmlns:a16="http://schemas.microsoft.com/office/drawing/2014/main" id="{C48D2A5F-4C22-4858-B816-B67EDAD76D91}"/>
                </a:ext>
              </a:extLst>
            </p:cNvPr>
            <p:cNvSpPr/>
            <p:nvPr/>
          </p:nvSpPr>
          <p:spPr bwMode="auto">
            <a:xfrm>
              <a:off x="9166532" y="3244623"/>
              <a:ext cx="119032" cy="82528"/>
            </a:xfrm>
            <a:custGeom>
              <a:avLst/>
              <a:gdLst>
                <a:gd name="T0" fmla="*/ 54 w 55"/>
                <a:gd name="T1" fmla="*/ 35 h 38"/>
                <a:gd name="T2" fmla="*/ 48 w 55"/>
                <a:gd name="T3" fmla="*/ 37 h 38"/>
                <a:gd name="T4" fmla="*/ 3 w 55"/>
                <a:gd name="T5" fmla="*/ 9 h 38"/>
                <a:gd name="T6" fmla="*/ 2 w 55"/>
                <a:gd name="T7" fmla="*/ 3 h 38"/>
                <a:gd name="T8" fmla="*/ 8 w 55"/>
                <a:gd name="T9" fmla="*/ 1 h 38"/>
                <a:gd name="T10" fmla="*/ 53 w 55"/>
                <a:gd name="T11" fmla="*/ 29 h 38"/>
                <a:gd name="T12" fmla="*/ 54 w 55"/>
                <a:gd name="T13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8">
                  <a:moveTo>
                    <a:pt x="54" y="35"/>
                  </a:moveTo>
                  <a:cubicBezTo>
                    <a:pt x="53" y="37"/>
                    <a:pt x="50" y="38"/>
                    <a:pt x="48" y="37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7"/>
                    <a:pt x="0" y="5"/>
                    <a:pt x="2" y="3"/>
                  </a:cubicBezTo>
                  <a:cubicBezTo>
                    <a:pt x="3" y="1"/>
                    <a:pt x="6" y="0"/>
                    <a:pt x="8" y="1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5" y="31"/>
                    <a:pt x="55" y="33"/>
                    <a:pt x="54" y="35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79" name="Freeform 88">
              <a:extLst>
                <a:ext uri="{FF2B5EF4-FFF2-40B4-BE49-F238E27FC236}">
                  <a16:creationId xmlns:a16="http://schemas.microsoft.com/office/drawing/2014/main" id="{B68A8513-4B22-4825-B314-86E4DB01C242}"/>
                </a:ext>
              </a:extLst>
            </p:cNvPr>
            <p:cNvSpPr/>
            <p:nvPr/>
          </p:nvSpPr>
          <p:spPr bwMode="auto">
            <a:xfrm>
              <a:off x="9074481" y="3309694"/>
              <a:ext cx="163471" cy="226953"/>
            </a:xfrm>
            <a:custGeom>
              <a:avLst/>
              <a:gdLst>
                <a:gd name="T0" fmla="*/ 75 w 75"/>
                <a:gd name="T1" fmla="*/ 4 h 104"/>
                <a:gd name="T2" fmla="*/ 69 w 75"/>
                <a:gd name="T3" fmla="*/ 0 h 104"/>
                <a:gd name="T4" fmla="*/ 10 w 75"/>
                <a:gd name="T5" fmla="*/ 95 h 104"/>
                <a:gd name="T6" fmla="*/ 0 w 75"/>
                <a:gd name="T7" fmla="*/ 100 h 104"/>
                <a:gd name="T8" fmla="*/ 1 w 75"/>
                <a:gd name="T9" fmla="*/ 101 h 104"/>
                <a:gd name="T10" fmla="*/ 17 w 75"/>
                <a:gd name="T11" fmla="*/ 98 h 104"/>
                <a:gd name="T12" fmla="*/ 75 w 75"/>
                <a:gd name="T13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4">
                  <a:moveTo>
                    <a:pt x="75" y="4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8" y="98"/>
                    <a:pt x="4" y="100"/>
                    <a:pt x="0" y="100"/>
                  </a:cubicBezTo>
                  <a:cubicBezTo>
                    <a:pt x="0" y="100"/>
                    <a:pt x="1" y="100"/>
                    <a:pt x="1" y="101"/>
                  </a:cubicBezTo>
                  <a:cubicBezTo>
                    <a:pt x="7" y="104"/>
                    <a:pt x="14" y="103"/>
                    <a:pt x="17" y="98"/>
                  </a:cubicBezTo>
                  <a:lnTo>
                    <a:pt x="75" y="4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0" name="Freeform 89">
              <a:extLst>
                <a:ext uri="{FF2B5EF4-FFF2-40B4-BE49-F238E27FC236}">
                  <a16:creationId xmlns:a16="http://schemas.microsoft.com/office/drawing/2014/main" id="{BC84D816-8696-430A-B44B-632D7C545C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3579" y="2017805"/>
              <a:ext cx="222192" cy="161883"/>
            </a:xfrm>
            <a:custGeom>
              <a:avLst/>
              <a:gdLst>
                <a:gd name="T0" fmla="*/ 84 w 102"/>
                <a:gd name="T1" fmla="*/ 71 h 74"/>
                <a:gd name="T2" fmla="*/ 79 w 102"/>
                <a:gd name="T3" fmla="*/ 69 h 74"/>
                <a:gd name="T4" fmla="*/ 79 w 102"/>
                <a:gd name="T5" fmla="*/ 69 h 74"/>
                <a:gd name="T6" fmla="*/ 79 w 102"/>
                <a:gd name="T7" fmla="*/ 52 h 74"/>
                <a:gd name="T8" fmla="*/ 86 w 102"/>
                <a:gd name="T9" fmla="*/ 49 h 74"/>
                <a:gd name="T10" fmla="*/ 90 w 102"/>
                <a:gd name="T11" fmla="*/ 38 h 74"/>
                <a:gd name="T12" fmla="*/ 79 w 102"/>
                <a:gd name="T13" fmla="*/ 31 h 74"/>
                <a:gd name="T14" fmla="*/ 85 w 102"/>
                <a:gd name="T15" fmla="*/ 20 h 74"/>
                <a:gd name="T16" fmla="*/ 79 w 102"/>
                <a:gd name="T17" fmla="*/ 16 h 74"/>
                <a:gd name="T18" fmla="*/ 72 w 102"/>
                <a:gd name="T19" fmla="*/ 3 h 74"/>
                <a:gd name="T20" fmla="*/ 79 w 102"/>
                <a:gd name="T21" fmla="*/ 16 h 74"/>
                <a:gd name="T22" fmla="*/ 72 w 102"/>
                <a:gd name="T23" fmla="*/ 21 h 74"/>
                <a:gd name="T24" fmla="*/ 72 w 102"/>
                <a:gd name="T25" fmla="*/ 9 h 74"/>
                <a:gd name="T26" fmla="*/ 79 w 102"/>
                <a:gd name="T27" fmla="*/ 73 h 74"/>
                <a:gd name="T28" fmla="*/ 72 w 102"/>
                <a:gd name="T29" fmla="*/ 69 h 74"/>
                <a:gd name="T30" fmla="*/ 79 w 102"/>
                <a:gd name="T31" fmla="*/ 73 h 74"/>
                <a:gd name="T32" fmla="*/ 79 w 102"/>
                <a:gd name="T33" fmla="*/ 34 h 74"/>
                <a:gd name="T34" fmla="*/ 75 w 102"/>
                <a:gd name="T35" fmla="*/ 45 h 74"/>
                <a:gd name="T36" fmla="*/ 79 w 102"/>
                <a:gd name="T37" fmla="*/ 52 h 74"/>
                <a:gd name="T38" fmla="*/ 72 w 102"/>
                <a:gd name="T39" fmla="*/ 25 h 74"/>
                <a:gd name="T40" fmla="*/ 79 w 102"/>
                <a:gd name="T41" fmla="*/ 31 h 74"/>
                <a:gd name="T42" fmla="*/ 72 w 102"/>
                <a:gd name="T43" fmla="*/ 3 h 74"/>
                <a:gd name="T44" fmla="*/ 71 w 102"/>
                <a:gd name="T45" fmla="*/ 8 h 74"/>
                <a:gd name="T46" fmla="*/ 66 w 102"/>
                <a:gd name="T47" fmla="*/ 2 h 74"/>
                <a:gd name="T48" fmla="*/ 66 w 102"/>
                <a:gd name="T49" fmla="*/ 73 h 74"/>
                <a:gd name="T50" fmla="*/ 67 w 102"/>
                <a:gd name="T51" fmla="*/ 65 h 74"/>
                <a:gd name="T52" fmla="*/ 72 w 102"/>
                <a:gd name="T53" fmla="*/ 74 h 74"/>
                <a:gd name="T54" fmla="*/ 72 w 102"/>
                <a:gd name="T55" fmla="*/ 21 h 74"/>
                <a:gd name="T56" fmla="*/ 72 w 102"/>
                <a:gd name="T57" fmla="*/ 52 h 74"/>
                <a:gd name="T58" fmla="*/ 66 w 102"/>
                <a:gd name="T59" fmla="*/ 57 h 74"/>
                <a:gd name="T60" fmla="*/ 69 w 102"/>
                <a:gd name="T61" fmla="*/ 16 h 74"/>
                <a:gd name="T62" fmla="*/ 22 w 102"/>
                <a:gd name="T63" fmla="*/ 10 h 74"/>
                <a:gd name="T64" fmla="*/ 66 w 102"/>
                <a:gd name="T65" fmla="*/ 5 h 74"/>
                <a:gd name="T66" fmla="*/ 64 w 102"/>
                <a:gd name="T67" fmla="*/ 6 h 74"/>
                <a:gd name="T68" fmla="*/ 66 w 102"/>
                <a:gd name="T69" fmla="*/ 16 h 74"/>
                <a:gd name="T70" fmla="*/ 66 w 102"/>
                <a:gd name="T71" fmla="*/ 64 h 74"/>
                <a:gd name="T72" fmla="*/ 37 w 102"/>
                <a:gd name="T73" fmla="*/ 57 h 74"/>
                <a:gd name="T74" fmla="*/ 22 w 102"/>
                <a:gd name="T75" fmla="*/ 49 h 74"/>
                <a:gd name="T76" fmla="*/ 27 w 102"/>
                <a:gd name="T77" fmla="*/ 48 h 74"/>
                <a:gd name="T78" fmla="*/ 22 w 102"/>
                <a:gd name="T79" fmla="*/ 27 h 74"/>
                <a:gd name="T80" fmla="*/ 2 w 102"/>
                <a:gd name="T81" fmla="*/ 41 h 74"/>
                <a:gd name="T82" fmla="*/ 22 w 102"/>
                <a:gd name="T83" fmla="*/ 10 h 74"/>
                <a:gd name="T84" fmla="*/ 17 w 102"/>
                <a:gd name="T85" fmla="*/ 28 h 74"/>
                <a:gd name="T86" fmla="*/ 22 w 102"/>
                <a:gd name="T87" fmla="*/ 49 h 74"/>
                <a:gd name="T88" fmla="*/ 2 w 102"/>
                <a:gd name="T89" fmla="*/ 4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2" h="74">
                  <a:moveTo>
                    <a:pt x="79" y="7"/>
                  </a:moveTo>
                  <a:cubicBezTo>
                    <a:pt x="102" y="22"/>
                    <a:pt x="98" y="62"/>
                    <a:pt x="84" y="71"/>
                  </a:cubicBezTo>
                  <a:cubicBezTo>
                    <a:pt x="82" y="72"/>
                    <a:pt x="80" y="73"/>
                    <a:pt x="79" y="73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83" y="67"/>
                    <a:pt x="85" y="61"/>
                    <a:pt x="83" y="57"/>
                  </a:cubicBezTo>
                  <a:cubicBezTo>
                    <a:pt x="82" y="55"/>
                    <a:pt x="80" y="53"/>
                    <a:pt x="79" y="52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81" y="50"/>
                    <a:pt x="84" y="50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90" y="47"/>
                    <a:pt x="92" y="42"/>
                    <a:pt x="90" y="38"/>
                  </a:cubicBezTo>
                  <a:cubicBezTo>
                    <a:pt x="88" y="34"/>
                    <a:pt x="83" y="32"/>
                    <a:pt x="79" y="34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1"/>
                    <a:pt x="81" y="30"/>
                    <a:pt x="82" y="30"/>
                  </a:cubicBezTo>
                  <a:cubicBezTo>
                    <a:pt x="86" y="28"/>
                    <a:pt x="87" y="24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17"/>
                    <a:pt x="81" y="16"/>
                    <a:pt x="79" y="16"/>
                  </a:cubicBezTo>
                  <a:lnTo>
                    <a:pt x="79" y="7"/>
                  </a:lnTo>
                  <a:close/>
                  <a:moveTo>
                    <a:pt x="72" y="3"/>
                  </a:moveTo>
                  <a:cubicBezTo>
                    <a:pt x="74" y="4"/>
                    <a:pt x="76" y="5"/>
                    <a:pt x="79" y="7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7" y="16"/>
                    <a:pt x="76" y="16"/>
                    <a:pt x="75" y="17"/>
                  </a:cubicBezTo>
                  <a:cubicBezTo>
                    <a:pt x="73" y="17"/>
                    <a:pt x="72" y="19"/>
                    <a:pt x="72" y="21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2"/>
                    <a:pt x="72" y="10"/>
                    <a:pt x="72" y="9"/>
                  </a:cubicBezTo>
                  <a:cubicBezTo>
                    <a:pt x="72" y="3"/>
                    <a:pt x="72" y="3"/>
                    <a:pt x="72" y="3"/>
                  </a:cubicBezTo>
                  <a:close/>
                  <a:moveTo>
                    <a:pt x="79" y="73"/>
                  </a:moveTo>
                  <a:cubicBezTo>
                    <a:pt x="76" y="74"/>
                    <a:pt x="74" y="74"/>
                    <a:pt x="72" y="74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4" y="70"/>
                    <a:pt x="76" y="70"/>
                    <a:pt x="79" y="69"/>
                  </a:cubicBezTo>
                  <a:cubicBezTo>
                    <a:pt x="79" y="73"/>
                    <a:pt x="79" y="73"/>
                    <a:pt x="79" y="73"/>
                  </a:cubicBezTo>
                  <a:close/>
                  <a:moveTo>
                    <a:pt x="79" y="31"/>
                  </a:moveTo>
                  <a:cubicBezTo>
                    <a:pt x="79" y="34"/>
                    <a:pt x="79" y="34"/>
                    <a:pt x="79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4" y="36"/>
                    <a:pt x="73" y="41"/>
                    <a:pt x="75" y="45"/>
                  </a:cubicBezTo>
                  <a:cubicBezTo>
                    <a:pt x="76" y="47"/>
                    <a:pt x="77" y="48"/>
                    <a:pt x="79" y="49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6" y="51"/>
                    <a:pt x="74" y="51"/>
                    <a:pt x="72" y="52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3" y="29"/>
                    <a:pt x="76" y="31"/>
                    <a:pt x="79" y="31"/>
                  </a:cubicBezTo>
                  <a:close/>
                  <a:moveTo>
                    <a:pt x="66" y="2"/>
                  </a:moveTo>
                  <a:cubicBezTo>
                    <a:pt x="68" y="2"/>
                    <a:pt x="70" y="3"/>
                    <a:pt x="72" y="3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1" y="9"/>
                    <a:pt x="71" y="9"/>
                    <a:pt x="71" y="8"/>
                  </a:cubicBezTo>
                  <a:cubicBezTo>
                    <a:pt x="70" y="7"/>
                    <a:pt x="68" y="5"/>
                    <a:pt x="66" y="5"/>
                  </a:cubicBezTo>
                  <a:cubicBezTo>
                    <a:pt x="66" y="2"/>
                    <a:pt x="66" y="2"/>
                    <a:pt x="66" y="2"/>
                  </a:cubicBezTo>
                  <a:close/>
                  <a:moveTo>
                    <a:pt x="72" y="74"/>
                  </a:moveTo>
                  <a:cubicBezTo>
                    <a:pt x="70" y="74"/>
                    <a:pt x="68" y="73"/>
                    <a:pt x="66" y="73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6" y="64"/>
                    <a:pt x="67" y="64"/>
                    <a:pt x="67" y="65"/>
                  </a:cubicBezTo>
                  <a:cubicBezTo>
                    <a:pt x="68" y="67"/>
                    <a:pt x="70" y="68"/>
                    <a:pt x="72" y="69"/>
                  </a:cubicBezTo>
                  <a:cubicBezTo>
                    <a:pt x="72" y="74"/>
                    <a:pt x="72" y="74"/>
                    <a:pt x="72" y="74"/>
                  </a:cubicBezTo>
                  <a:close/>
                  <a:moveTo>
                    <a:pt x="72" y="13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1" y="22"/>
                    <a:pt x="71" y="24"/>
                    <a:pt x="72" y="25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69" y="54"/>
                    <a:pt x="67" y="55"/>
                    <a:pt x="66" y="57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7" y="16"/>
                    <a:pt x="68" y="16"/>
                    <a:pt x="69" y="16"/>
                  </a:cubicBezTo>
                  <a:cubicBezTo>
                    <a:pt x="70" y="15"/>
                    <a:pt x="71" y="14"/>
                    <a:pt x="72" y="13"/>
                  </a:cubicBezTo>
                  <a:close/>
                  <a:moveTo>
                    <a:pt x="22" y="10"/>
                  </a:moveTo>
                  <a:cubicBezTo>
                    <a:pt x="41" y="2"/>
                    <a:pt x="55" y="0"/>
                    <a:pt x="66" y="2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5"/>
                    <a:pt x="65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1" y="7"/>
                    <a:pt x="60" y="11"/>
                    <a:pt x="61" y="13"/>
                  </a:cubicBezTo>
                  <a:cubicBezTo>
                    <a:pt x="62" y="15"/>
                    <a:pt x="64" y="16"/>
                    <a:pt x="66" y="16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9"/>
                    <a:pt x="66" y="62"/>
                    <a:pt x="66" y="6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56" y="68"/>
                    <a:pt x="48" y="56"/>
                    <a:pt x="37" y="57"/>
                  </a:cubicBezTo>
                  <a:cubicBezTo>
                    <a:pt x="32" y="57"/>
                    <a:pt x="27" y="58"/>
                    <a:pt x="22" y="57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49"/>
                    <a:pt x="25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2" y="45"/>
                    <a:pt x="34" y="38"/>
                    <a:pt x="32" y="33"/>
                  </a:cubicBezTo>
                  <a:cubicBezTo>
                    <a:pt x="30" y="29"/>
                    <a:pt x="26" y="27"/>
                    <a:pt x="22" y="27"/>
                  </a:cubicBezTo>
                  <a:lnTo>
                    <a:pt x="22" y="10"/>
                  </a:lnTo>
                  <a:close/>
                  <a:moveTo>
                    <a:pt x="2" y="41"/>
                  </a:moveTo>
                  <a:cubicBezTo>
                    <a:pt x="0" y="23"/>
                    <a:pt x="18" y="12"/>
                    <a:pt x="18" y="12"/>
                  </a:cubicBezTo>
                  <a:cubicBezTo>
                    <a:pt x="20" y="12"/>
                    <a:pt x="21" y="11"/>
                    <a:pt x="22" y="10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0" y="27"/>
                    <a:pt x="19" y="27"/>
                    <a:pt x="17" y="28"/>
                  </a:cubicBezTo>
                  <a:cubicBezTo>
                    <a:pt x="12" y="31"/>
                    <a:pt x="9" y="37"/>
                    <a:pt x="12" y="43"/>
                  </a:cubicBezTo>
                  <a:cubicBezTo>
                    <a:pt x="14" y="47"/>
                    <a:pt x="18" y="49"/>
                    <a:pt x="22" y="49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12" y="57"/>
                    <a:pt x="4" y="53"/>
                    <a:pt x="2" y="41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1" name="Freeform 90">
              <a:extLst>
                <a:ext uri="{FF2B5EF4-FFF2-40B4-BE49-F238E27FC236}">
                  <a16:creationId xmlns:a16="http://schemas.microsoft.com/office/drawing/2014/main" id="{4F967DBE-E263-43D1-AA66-92863777E758}"/>
                </a:ext>
              </a:extLst>
            </p:cNvPr>
            <p:cNvSpPr/>
            <p:nvPr/>
          </p:nvSpPr>
          <p:spPr bwMode="auto">
            <a:xfrm>
              <a:off x="6841450" y="3077979"/>
              <a:ext cx="206321" cy="266631"/>
            </a:xfrm>
            <a:custGeom>
              <a:avLst/>
              <a:gdLst>
                <a:gd name="T0" fmla="*/ 0 w 95"/>
                <a:gd name="T1" fmla="*/ 21 h 123"/>
                <a:gd name="T2" fmla="*/ 4 w 95"/>
                <a:gd name="T3" fmla="*/ 19 h 123"/>
                <a:gd name="T4" fmla="*/ 59 w 95"/>
                <a:gd name="T5" fmla="*/ 109 h 123"/>
                <a:gd name="T6" fmla="*/ 79 w 95"/>
                <a:gd name="T7" fmla="*/ 112 h 123"/>
                <a:gd name="T8" fmla="*/ 85 w 95"/>
                <a:gd name="T9" fmla="*/ 93 h 123"/>
                <a:gd name="T10" fmla="*/ 29 w 95"/>
                <a:gd name="T11" fmla="*/ 3 h 123"/>
                <a:gd name="T12" fmla="*/ 34 w 95"/>
                <a:gd name="T13" fmla="*/ 0 h 123"/>
                <a:gd name="T14" fmla="*/ 90 w 95"/>
                <a:gd name="T15" fmla="*/ 91 h 123"/>
                <a:gd name="T16" fmla="*/ 82 w 95"/>
                <a:gd name="T17" fmla="*/ 117 h 123"/>
                <a:gd name="T18" fmla="*/ 56 w 95"/>
                <a:gd name="T19" fmla="*/ 112 h 123"/>
                <a:gd name="T20" fmla="*/ 0 w 95"/>
                <a:gd name="T21" fmla="*/ 2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123">
                  <a:moveTo>
                    <a:pt x="0" y="21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59" y="109"/>
                    <a:pt x="59" y="109"/>
                    <a:pt x="59" y="109"/>
                  </a:cubicBezTo>
                  <a:cubicBezTo>
                    <a:pt x="63" y="115"/>
                    <a:pt x="72" y="117"/>
                    <a:pt x="79" y="112"/>
                  </a:cubicBezTo>
                  <a:cubicBezTo>
                    <a:pt x="87" y="108"/>
                    <a:pt x="89" y="99"/>
                    <a:pt x="85" y="9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5" y="100"/>
                    <a:pt x="92" y="111"/>
                    <a:pt x="82" y="117"/>
                  </a:cubicBezTo>
                  <a:cubicBezTo>
                    <a:pt x="73" y="123"/>
                    <a:pt x="61" y="121"/>
                    <a:pt x="56" y="112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2" name="Freeform 91">
              <a:extLst>
                <a:ext uri="{FF2B5EF4-FFF2-40B4-BE49-F238E27FC236}">
                  <a16:creationId xmlns:a16="http://schemas.microsoft.com/office/drawing/2014/main" id="{423B05B0-9109-4EEA-8E43-2D5E28C1E93F}"/>
                </a:ext>
              </a:extLst>
            </p:cNvPr>
            <p:cNvSpPr/>
            <p:nvPr/>
          </p:nvSpPr>
          <p:spPr bwMode="auto">
            <a:xfrm>
              <a:off x="6828754" y="3068456"/>
              <a:ext cx="101573" cy="69832"/>
            </a:xfrm>
            <a:custGeom>
              <a:avLst/>
              <a:gdLst>
                <a:gd name="T0" fmla="*/ 1 w 47"/>
                <a:gd name="T1" fmla="*/ 30 h 32"/>
                <a:gd name="T2" fmla="*/ 6 w 47"/>
                <a:gd name="T3" fmla="*/ 31 h 32"/>
                <a:gd name="T4" fmla="*/ 44 w 47"/>
                <a:gd name="T5" fmla="*/ 7 h 32"/>
                <a:gd name="T6" fmla="*/ 46 w 47"/>
                <a:gd name="T7" fmla="*/ 2 h 32"/>
                <a:gd name="T8" fmla="*/ 41 w 47"/>
                <a:gd name="T9" fmla="*/ 1 h 32"/>
                <a:gd name="T10" fmla="*/ 2 w 47"/>
                <a:gd name="T11" fmla="*/ 25 h 32"/>
                <a:gd name="T12" fmla="*/ 1 w 47"/>
                <a:gd name="T1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2">
                  <a:moveTo>
                    <a:pt x="1" y="30"/>
                  </a:moveTo>
                  <a:cubicBezTo>
                    <a:pt x="2" y="32"/>
                    <a:pt x="4" y="32"/>
                    <a:pt x="6" y="31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6" y="6"/>
                    <a:pt x="47" y="4"/>
                    <a:pt x="46" y="2"/>
                  </a:cubicBezTo>
                  <a:cubicBezTo>
                    <a:pt x="45" y="1"/>
                    <a:pt x="42" y="0"/>
                    <a:pt x="41" y="1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0" y="28"/>
                    <a:pt x="1" y="3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3" name="Freeform 92">
              <a:extLst>
                <a:ext uri="{FF2B5EF4-FFF2-40B4-BE49-F238E27FC236}">
                  <a16:creationId xmlns:a16="http://schemas.microsoft.com/office/drawing/2014/main" id="{5F92B064-D685-4B54-93A2-87469EDF6C10}"/>
                </a:ext>
              </a:extLst>
            </p:cNvPr>
            <p:cNvSpPr/>
            <p:nvPr/>
          </p:nvSpPr>
          <p:spPr bwMode="auto">
            <a:xfrm>
              <a:off x="6870017" y="3125591"/>
              <a:ext cx="139664" cy="192037"/>
            </a:xfrm>
            <a:custGeom>
              <a:avLst/>
              <a:gdLst>
                <a:gd name="T0" fmla="*/ 0 w 64"/>
                <a:gd name="T1" fmla="*/ 3 h 88"/>
                <a:gd name="T2" fmla="*/ 5 w 64"/>
                <a:gd name="T3" fmla="*/ 0 h 88"/>
                <a:gd name="T4" fmla="*/ 55 w 64"/>
                <a:gd name="T5" fmla="*/ 80 h 88"/>
                <a:gd name="T6" fmla="*/ 64 w 64"/>
                <a:gd name="T7" fmla="*/ 85 h 88"/>
                <a:gd name="T8" fmla="*/ 63 w 64"/>
                <a:gd name="T9" fmla="*/ 85 h 88"/>
                <a:gd name="T10" fmla="*/ 49 w 64"/>
                <a:gd name="T11" fmla="*/ 82 h 88"/>
                <a:gd name="T12" fmla="*/ 0 w 64"/>
                <a:gd name="T13" fmla="*/ 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8">
                  <a:moveTo>
                    <a:pt x="0" y="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7" y="83"/>
                    <a:pt x="60" y="85"/>
                    <a:pt x="64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58" y="88"/>
                    <a:pt x="52" y="87"/>
                    <a:pt x="49" y="8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4" name="Freeform 93">
              <a:extLst>
                <a:ext uri="{FF2B5EF4-FFF2-40B4-BE49-F238E27FC236}">
                  <a16:creationId xmlns:a16="http://schemas.microsoft.com/office/drawing/2014/main" id="{8E7B290C-1745-4356-B7ED-FF873576A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01584" y="4728549"/>
              <a:ext cx="219017" cy="239651"/>
            </a:xfrm>
            <a:custGeom>
              <a:avLst/>
              <a:gdLst>
                <a:gd name="T0" fmla="*/ 78 w 101"/>
                <a:gd name="T1" fmla="*/ 51 h 110"/>
                <a:gd name="T2" fmla="*/ 75 w 101"/>
                <a:gd name="T3" fmla="*/ 63 h 110"/>
                <a:gd name="T4" fmla="*/ 75 w 101"/>
                <a:gd name="T5" fmla="*/ 73 h 110"/>
                <a:gd name="T6" fmla="*/ 77 w 101"/>
                <a:gd name="T7" fmla="*/ 74 h 110"/>
                <a:gd name="T8" fmla="*/ 86 w 101"/>
                <a:gd name="T9" fmla="*/ 86 h 110"/>
                <a:gd name="T10" fmla="*/ 75 w 101"/>
                <a:gd name="T11" fmla="*/ 80 h 110"/>
                <a:gd name="T12" fmla="*/ 75 w 101"/>
                <a:gd name="T13" fmla="*/ 22 h 110"/>
                <a:gd name="T14" fmla="*/ 86 w 101"/>
                <a:gd name="T15" fmla="*/ 15 h 110"/>
                <a:gd name="T16" fmla="*/ 77 w 101"/>
                <a:gd name="T17" fmla="*/ 28 h 110"/>
                <a:gd name="T18" fmla="*/ 75 w 101"/>
                <a:gd name="T19" fmla="*/ 28 h 110"/>
                <a:gd name="T20" fmla="*/ 98 w 101"/>
                <a:gd name="T21" fmla="*/ 48 h 110"/>
                <a:gd name="T22" fmla="*/ 83 w 101"/>
                <a:gd name="T23" fmla="*/ 51 h 110"/>
                <a:gd name="T24" fmla="*/ 98 w 101"/>
                <a:gd name="T25" fmla="*/ 53 h 110"/>
                <a:gd name="T26" fmla="*/ 98 w 101"/>
                <a:gd name="T27" fmla="*/ 48 h 110"/>
                <a:gd name="T28" fmla="*/ 52 w 101"/>
                <a:gd name="T29" fmla="*/ 110 h 110"/>
                <a:gd name="T30" fmla="*/ 66 w 101"/>
                <a:gd name="T31" fmla="*/ 74 h 110"/>
                <a:gd name="T32" fmla="*/ 75 w 101"/>
                <a:gd name="T33" fmla="*/ 39 h 110"/>
                <a:gd name="T34" fmla="*/ 50 w 101"/>
                <a:gd name="T35" fmla="*/ 29 h 110"/>
                <a:gd name="T36" fmla="*/ 72 w 101"/>
                <a:gd name="T37" fmla="*/ 51 h 110"/>
                <a:gd name="T38" fmla="*/ 62 w 101"/>
                <a:gd name="T39" fmla="*/ 70 h 110"/>
                <a:gd name="T40" fmla="*/ 60 w 101"/>
                <a:gd name="T41" fmla="*/ 85 h 110"/>
                <a:gd name="T42" fmla="*/ 50 w 101"/>
                <a:gd name="T43" fmla="*/ 110 h 110"/>
                <a:gd name="T44" fmla="*/ 75 w 101"/>
                <a:gd name="T45" fmla="*/ 28 h 110"/>
                <a:gd name="T46" fmla="*/ 74 w 101"/>
                <a:gd name="T47" fmla="*/ 24 h 110"/>
                <a:gd name="T48" fmla="*/ 75 w 101"/>
                <a:gd name="T49" fmla="*/ 73 h 110"/>
                <a:gd name="T50" fmla="*/ 74 w 101"/>
                <a:gd name="T51" fmla="*/ 78 h 110"/>
                <a:gd name="T52" fmla="*/ 75 w 101"/>
                <a:gd name="T53" fmla="*/ 73 h 110"/>
                <a:gd name="T54" fmla="*/ 50 w 101"/>
                <a:gd name="T55" fmla="*/ 0 h 110"/>
                <a:gd name="T56" fmla="*/ 53 w 101"/>
                <a:gd name="T57" fmla="*/ 3 h 110"/>
                <a:gd name="T58" fmla="*/ 50 w 101"/>
                <a:gd name="T59" fmla="*/ 18 h 110"/>
                <a:gd name="T60" fmla="*/ 50 w 101"/>
                <a:gd name="T61" fmla="*/ 23 h 110"/>
                <a:gd name="T62" fmla="*/ 25 w 101"/>
                <a:gd name="T63" fmla="*/ 63 h 110"/>
                <a:gd name="T64" fmla="*/ 35 w 101"/>
                <a:gd name="T65" fmla="*/ 96 h 110"/>
                <a:gd name="T66" fmla="*/ 50 w 101"/>
                <a:gd name="T67" fmla="*/ 110 h 110"/>
                <a:gd name="T68" fmla="*/ 41 w 101"/>
                <a:gd name="T69" fmla="*/ 85 h 110"/>
                <a:gd name="T70" fmla="*/ 39 w 101"/>
                <a:gd name="T71" fmla="*/ 70 h 110"/>
                <a:gd name="T72" fmla="*/ 34 w 101"/>
                <a:gd name="T73" fmla="*/ 35 h 110"/>
                <a:gd name="T74" fmla="*/ 50 w 101"/>
                <a:gd name="T75" fmla="*/ 23 h 110"/>
                <a:gd name="T76" fmla="*/ 50 w 101"/>
                <a:gd name="T77" fmla="*/ 18 h 110"/>
                <a:gd name="T78" fmla="*/ 48 w 101"/>
                <a:gd name="T79" fmla="*/ 3 h 110"/>
                <a:gd name="T80" fmla="*/ 25 w 101"/>
                <a:gd name="T81" fmla="*/ 80 h 110"/>
                <a:gd name="T82" fmla="*/ 27 w 101"/>
                <a:gd name="T83" fmla="*/ 74 h 110"/>
                <a:gd name="T84" fmla="*/ 25 w 101"/>
                <a:gd name="T85" fmla="*/ 80 h 110"/>
                <a:gd name="T86" fmla="*/ 25 w 101"/>
                <a:gd name="T87" fmla="*/ 22 h 110"/>
                <a:gd name="T88" fmla="*/ 27 w 101"/>
                <a:gd name="T89" fmla="*/ 28 h 110"/>
                <a:gd name="T90" fmla="*/ 25 w 101"/>
                <a:gd name="T91" fmla="*/ 39 h 110"/>
                <a:gd name="T92" fmla="*/ 25 w 101"/>
                <a:gd name="T93" fmla="*/ 63 h 110"/>
                <a:gd name="T94" fmla="*/ 25 w 101"/>
                <a:gd name="T95" fmla="*/ 22 h 110"/>
                <a:gd name="T96" fmla="*/ 23 w 101"/>
                <a:gd name="T97" fmla="*/ 28 h 110"/>
                <a:gd name="T98" fmla="*/ 15 w 101"/>
                <a:gd name="T99" fmla="*/ 19 h 110"/>
                <a:gd name="T100" fmla="*/ 18 w 101"/>
                <a:gd name="T101" fmla="*/ 15 h 110"/>
                <a:gd name="T102" fmla="*/ 25 w 101"/>
                <a:gd name="T103" fmla="*/ 73 h 110"/>
                <a:gd name="T104" fmla="*/ 18 w 101"/>
                <a:gd name="T105" fmla="*/ 86 h 110"/>
                <a:gd name="T106" fmla="*/ 15 w 101"/>
                <a:gd name="T107" fmla="*/ 83 h 110"/>
                <a:gd name="T108" fmla="*/ 23 w 101"/>
                <a:gd name="T109" fmla="*/ 74 h 110"/>
                <a:gd name="T110" fmla="*/ 18 w 101"/>
                <a:gd name="T111" fmla="*/ 51 h 110"/>
                <a:gd name="T112" fmla="*/ 15 w 101"/>
                <a:gd name="T113" fmla="*/ 48 h 110"/>
                <a:gd name="T114" fmla="*/ 0 w 101"/>
                <a:gd name="T115" fmla="*/ 51 h 110"/>
                <a:gd name="T116" fmla="*/ 15 w 101"/>
                <a:gd name="T117" fmla="*/ 5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10">
                  <a:moveTo>
                    <a:pt x="75" y="63"/>
                  </a:moveTo>
                  <a:cubicBezTo>
                    <a:pt x="77" y="59"/>
                    <a:pt x="78" y="55"/>
                    <a:pt x="78" y="51"/>
                  </a:cubicBezTo>
                  <a:cubicBezTo>
                    <a:pt x="78" y="47"/>
                    <a:pt x="77" y="43"/>
                    <a:pt x="75" y="39"/>
                  </a:cubicBezTo>
                  <a:cubicBezTo>
                    <a:pt x="75" y="63"/>
                    <a:pt x="75" y="63"/>
                    <a:pt x="75" y="63"/>
                  </a:cubicBezTo>
                  <a:close/>
                  <a:moveTo>
                    <a:pt x="75" y="80"/>
                  </a:moveTo>
                  <a:cubicBezTo>
                    <a:pt x="75" y="73"/>
                    <a:pt x="75" y="73"/>
                    <a:pt x="75" y="73"/>
                  </a:cubicBezTo>
                  <a:cubicBezTo>
                    <a:pt x="76" y="73"/>
                    <a:pt x="77" y="73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7" y="84"/>
                    <a:pt x="87" y="85"/>
                    <a:pt x="86" y="86"/>
                  </a:cubicBezTo>
                  <a:cubicBezTo>
                    <a:pt x="85" y="87"/>
                    <a:pt x="83" y="87"/>
                    <a:pt x="82" y="86"/>
                  </a:cubicBezTo>
                  <a:cubicBezTo>
                    <a:pt x="75" y="80"/>
                    <a:pt x="75" y="80"/>
                    <a:pt x="75" y="80"/>
                  </a:cubicBezTo>
                  <a:close/>
                  <a:moveTo>
                    <a:pt x="75" y="28"/>
                  </a:moveTo>
                  <a:cubicBezTo>
                    <a:pt x="75" y="22"/>
                    <a:pt x="75" y="22"/>
                    <a:pt x="75" y="22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3" y="14"/>
                    <a:pt x="85" y="14"/>
                    <a:pt x="86" y="15"/>
                  </a:cubicBezTo>
                  <a:cubicBezTo>
                    <a:pt x="87" y="16"/>
                    <a:pt x="87" y="18"/>
                    <a:pt x="86" y="19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6" y="28"/>
                    <a:pt x="75" y="28"/>
                  </a:cubicBezTo>
                  <a:close/>
                  <a:moveTo>
                    <a:pt x="98" y="48"/>
                  </a:moveTo>
                  <a:cubicBezTo>
                    <a:pt x="98" y="48"/>
                    <a:pt x="98" y="48"/>
                    <a:pt x="98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4" y="48"/>
                    <a:pt x="83" y="49"/>
                    <a:pt x="83" y="51"/>
                  </a:cubicBezTo>
                  <a:cubicBezTo>
                    <a:pt x="83" y="52"/>
                    <a:pt x="84" y="53"/>
                    <a:pt x="86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100" y="53"/>
                    <a:pt x="101" y="52"/>
                    <a:pt x="101" y="51"/>
                  </a:cubicBezTo>
                  <a:cubicBezTo>
                    <a:pt x="101" y="49"/>
                    <a:pt x="100" y="48"/>
                    <a:pt x="98" y="48"/>
                  </a:cubicBezTo>
                  <a:close/>
                  <a:moveTo>
                    <a:pt x="50" y="110"/>
                  </a:moveTo>
                  <a:cubicBezTo>
                    <a:pt x="52" y="110"/>
                    <a:pt x="52" y="110"/>
                    <a:pt x="52" y="110"/>
                  </a:cubicBezTo>
                  <a:cubicBezTo>
                    <a:pt x="60" y="110"/>
                    <a:pt x="66" y="104"/>
                    <a:pt x="66" y="96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70" y="71"/>
                    <a:pt x="73" y="67"/>
                    <a:pt x="75" y="63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1" y="29"/>
                    <a:pt x="61" y="23"/>
                    <a:pt x="50" y="23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6" y="29"/>
                    <a:pt x="62" y="31"/>
                    <a:pt x="66" y="35"/>
                  </a:cubicBezTo>
                  <a:cubicBezTo>
                    <a:pt x="70" y="39"/>
                    <a:pt x="72" y="45"/>
                    <a:pt x="72" y="51"/>
                  </a:cubicBezTo>
                  <a:cubicBezTo>
                    <a:pt x="72" y="59"/>
                    <a:pt x="68" y="66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1" y="70"/>
                    <a:pt x="60" y="71"/>
                    <a:pt x="60" y="72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10"/>
                    <a:pt x="50" y="110"/>
                    <a:pt x="50" y="110"/>
                  </a:cubicBezTo>
                  <a:close/>
                  <a:moveTo>
                    <a:pt x="75" y="22"/>
                  </a:move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8"/>
                  </a:cubicBezTo>
                  <a:cubicBezTo>
                    <a:pt x="72" y="27"/>
                    <a:pt x="72" y="25"/>
                    <a:pt x="74" y="24"/>
                  </a:cubicBezTo>
                  <a:cubicBezTo>
                    <a:pt x="75" y="22"/>
                    <a:pt x="75" y="22"/>
                    <a:pt x="75" y="22"/>
                  </a:cubicBezTo>
                  <a:close/>
                  <a:moveTo>
                    <a:pt x="75" y="73"/>
                  </a:moveTo>
                  <a:cubicBezTo>
                    <a:pt x="75" y="80"/>
                    <a:pt x="75" y="80"/>
                    <a:pt x="75" y="80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2" y="77"/>
                    <a:pt x="72" y="75"/>
                    <a:pt x="74" y="74"/>
                  </a:cubicBezTo>
                  <a:cubicBezTo>
                    <a:pt x="74" y="73"/>
                    <a:pt x="75" y="73"/>
                    <a:pt x="75" y="73"/>
                  </a:cubicBezTo>
                  <a:close/>
                  <a:moveTo>
                    <a:pt x="50" y="18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3" y="2"/>
                    <a:pt x="53" y="3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7"/>
                    <a:pt x="52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lose/>
                  <a:moveTo>
                    <a:pt x="50" y="23"/>
                  </a:moveTo>
                  <a:cubicBezTo>
                    <a:pt x="39" y="23"/>
                    <a:pt x="30" y="29"/>
                    <a:pt x="25" y="39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7" y="68"/>
                    <a:pt x="31" y="71"/>
                    <a:pt x="35" y="74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35" y="104"/>
                    <a:pt x="41" y="110"/>
                    <a:pt x="49" y="110"/>
                  </a:cubicBezTo>
                  <a:cubicBezTo>
                    <a:pt x="50" y="110"/>
                    <a:pt x="50" y="110"/>
                    <a:pt x="50" y="110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1"/>
                    <a:pt x="40" y="71"/>
                    <a:pt x="39" y="70"/>
                  </a:cubicBezTo>
                  <a:cubicBezTo>
                    <a:pt x="33" y="66"/>
                    <a:pt x="28" y="59"/>
                    <a:pt x="28" y="51"/>
                  </a:cubicBezTo>
                  <a:cubicBezTo>
                    <a:pt x="28" y="45"/>
                    <a:pt x="30" y="39"/>
                    <a:pt x="34" y="35"/>
                  </a:cubicBezTo>
                  <a:cubicBezTo>
                    <a:pt x="39" y="31"/>
                    <a:pt x="44" y="29"/>
                    <a:pt x="50" y="29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50" y="0"/>
                  </a:moveTo>
                  <a:cubicBezTo>
                    <a:pt x="50" y="18"/>
                    <a:pt x="50" y="18"/>
                    <a:pt x="50" y="18"/>
                  </a:cubicBezTo>
                  <a:cubicBezTo>
                    <a:pt x="49" y="18"/>
                    <a:pt x="48" y="17"/>
                    <a:pt x="48" y="1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9" y="1"/>
                    <a:pt x="50" y="0"/>
                  </a:cubicBezTo>
                  <a:close/>
                  <a:moveTo>
                    <a:pt x="25" y="80"/>
                  </a:moveTo>
                  <a:cubicBezTo>
                    <a:pt x="25" y="73"/>
                    <a:pt x="25" y="73"/>
                    <a:pt x="25" y="73"/>
                  </a:cubicBezTo>
                  <a:cubicBezTo>
                    <a:pt x="26" y="73"/>
                    <a:pt x="27" y="73"/>
                    <a:pt x="27" y="74"/>
                  </a:cubicBezTo>
                  <a:cubicBezTo>
                    <a:pt x="28" y="75"/>
                    <a:pt x="28" y="77"/>
                    <a:pt x="27" y="78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5" y="28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5"/>
                    <a:pt x="28" y="27"/>
                    <a:pt x="27" y="28"/>
                  </a:cubicBezTo>
                  <a:cubicBezTo>
                    <a:pt x="27" y="28"/>
                    <a:pt x="26" y="28"/>
                    <a:pt x="25" y="28"/>
                  </a:cubicBezTo>
                  <a:close/>
                  <a:moveTo>
                    <a:pt x="25" y="39"/>
                  </a:moveTo>
                  <a:cubicBezTo>
                    <a:pt x="23" y="42"/>
                    <a:pt x="22" y="46"/>
                    <a:pt x="22" y="51"/>
                  </a:cubicBezTo>
                  <a:cubicBezTo>
                    <a:pt x="22" y="55"/>
                    <a:pt x="23" y="59"/>
                    <a:pt x="25" y="63"/>
                  </a:cubicBezTo>
                  <a:cubicBezTo>
                    <a:pt x="25" y="39"/>
                    <a:pt x="25" y="39"/>
                    <a:pt x="25" y="39"/>
                  </a:cubicBezTo>
                  <a:close/>
                  <a:moveTo>
                    <a:pt x="25" y="22"/>
                  </a:move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4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8"/>
                    <a:pt x="14" y="16"/>
                    <a:pt x="15" y="15"/>
                  </a:cubicBezTo>
                  <a:cubicBezTo>
                    <a:pt x="16" y="14"/>
                    <a:pt x="17" y="14"/>
                    <a:pt x="18" y="15"/>
                  </a:cubicBezTo>
                  <a:cubicBezTo>
                    <a:pt x="25" y="22"/>
                    <a:pt x="25" y="22"/>
                    <a:pt x="25" y="22"/>
                  </a:cubicBezTo>
                  <a:close/>
                  <a:moveTo>
                    <a:pt x="25" y="73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7" y="87"/>
                    <a:pt x="16" y="87"/>
                    <a:pt x="15" y="86"/>
                  </a:cubicBezTo>
                  <a:cubicBezTo>
                    <a:pt x="14" y="85"/>
                    <a:pt x="14" y="84"/>
                    <a:pt x="15" y="83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4" y="74"/>
                    <a:pt x="25" y="73"/>
                    <a:pt x="25" y="73"/>
                  </a:cubicBezTo>
                  <a:close/>
                  <a:moveTo>
                    <a:pt x="18" y="51"/>
                  </a:moveTo>
                  <a:cubicBezTo>
                    <a:pt x="18" y="51"/>
                    <a:pt x="18" y="51"/>
                    <a:pt x="18" y="51"/>
                  </a:cubicBezTo>
                  <a:cubicBezTo>
                    <a:pt x="18" y="49"/>
                    <a:pt x="16" y="48"/>
                    <a:pt x="15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" y="48"/>
                    <a:pt x="0" y="49"/>
                    <a:pt x="0" y="51"/>
                  </a:cubicBezTo>
                  <a:cubicBezTo>
                    <a:pt x="0" y="52"/>
                    <a:pt x="1" y="53"/>
                    <a:pt x="3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6" y="53"/>
                    <a:pt x="18" y="52"/>
                    <a:pt x="18" y="51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5" name="Freeform 94">
              <a:extLst>
                <a:ext uri="{FF2B5EF4-FFF2-40B4-BE49-F238E27FC236}">
                  <a16:creationId xmlns:a16="http://schemas.microsoft.com/office/drawing/2014/main" id="{CC92687C-FFE7-4A10-A523-4854983D7980}"/>
                </a:ext>
              </a:extLst>
            </p:cNvPr>
            <p:cNvSpPr/>
            <p:nvPr/>
          </p:nvSpPr>
          <p:spPr bwMode="auto">
            <a:xfrm>
              <a:off x="7936539" y="3149398"/>
              <a:ext cx="63484" cy="60309"/>
            </a:xfrm>
            <a:custGeom>
              <a:avLst/>
              <a:gdLst>
                <a:gd name="T0" fmla="*/ 28 w 29"/>
                <a:gd name="T1" fmla="*/ 16 h 28"/>
                <a:gd name="T2" fmla="*/ 12 w 29"/>
                <a:gd name="T3" fmla="*/ 27 h 28"/>
                <a:gd name="T4" fmla="*/ 1 w 29"/>
                <a:gd name="T5" fmla="*/ 12 h 28"/>
                <a:gd name="T6" fmla="*/ 17 w 29"/>
                <a:gd name="T7" fmla="*/ 1 h 28"/>
                <a:gd name="T8" fmla="*/ 28 w 29"/>
                <a:gd name="T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28" y="16"/>
                  </a:moveTo>
                  <a:cubicBezTo>
                    <a:pt x="26" y="23"/>
                    <a:pt x="19" y="28"/>
                    <a:pt x="12" y="27"/>
                  </a:cubicBezTo>
                  <a:cubicBezTo>
                    <a:pt x="5" y="26"/>
                    <a:pt x="0" y="19"/>
                    <a:pt x="1" y="12"/>
                  </a:cubicBezTo>
                  <a:cubicBezTo>
                    <a:pt x="3" y="4"/>
                    <a:pt x="10" y="0"/>
                    <a:pt x="17" y="1"/>
                  </a:cubicBezTo>
                  <a:cubicBezTo>
                    <a:pt x="24" y="2"/>
                    <a:pt x="29" y="9"/>
                    <a:pt x="28" y="16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6" name="Freeform 95">
              <a:extLst>
                <a:ext uri="{FF2B5EF4-FFF2-40B4-BE49-F238E27FC236}">
                  <a16:creationId xmlns:a16="http://schemas.microsoft.com/office/drawing/2014/main" id="{2EDF054C-FEBC-4FED-9D65-CAD415103B13}"/>
                </a:ext>
              </a:extLst>
            </p:cNvPr>
            <p:cNvSpPr/>
            <p:nvPr/>
          </p:nvSpPr>
          <p:spPr bwMode="auto">
            <a:xfrm>
              <a:off x="7922255" y="2966883"/>
              <a:ext cx="58723" cy="196799"/>
            </a:xfrm>
            <a:custGeom>
              <a:avLst/>
              <a:gdLst>
                <a:gd name="T0" fmla="*/ 27 w 27"/>
                <a:gd name="T1" fmla="*/ 90 h 91"/>
                <a:gd name="T2" fmla="*/ 12 w 27"/>
                <a:gd name="T3" fmla="*/ 14 h 91"/>
                <a:gd name="T4" fmla="*/ 1 w 27"/>
                <a:gd name="T5" fmla="*/ 0 h 91"/>
                <a:gd name="T6" fmla="*/ 17 w 27"/>
                <a:gd name="T7" fmla="*/ 91 h 91"/>
                <a:gd name="T8" fmla="*/ 27 w 27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91">
                  <a:moveTo>
                    <a:pt x="27" y="90"/>
                  </a:moveTo>
                  <a:cubicBezTo>
                    <a:pt x="27" y="90"/>
                    <a:pt x="12" y="14"/>
                    <a:pt x="12" y="14"/>
                  </a:cubicBezTo>
                  <a:cubicBezTo>
                    <a:pt x="12" y="14"/>
                    <a:pt x="3" y="0"/>
                    <a:pt x="1" y="0"/>
                  </a:cubicBezTo>
                  <a:cubicBezTo>
                    <a:pt x="0" y="0"/>
                    <a:pt x="17" y="91"/>
                    <a:pt x="17" y="91"/>
                  </a:cubicBezTo>
                  <a:lnTo>
                    <a:pt x="27" y="90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7" name="Freeform 96">
              <a:extLst>
                <a:ext uri="{FF2B5EF4-FFF2-40B4-BE49-F238E27FC236}">
                  <a16:creationId xmlns:a16="http://schemas.microsoft.com/office/drawing/2014/main" id="{0D9A59D5-B894-4106-9155-85D0B90A32C1}"/>
                </a:ext>
              </a:extLst>
            </p:cNvPr>
            <p:cNvSpPr/>
            <p:nvPr/>
          </p:nvSpPr>
          <p:spPr bwMode="auto">
            <a:xfrm>
              <a:off x="7963521" y="2998624"/>
              <a:ext cx="126967" cy="169819"/>
            </a:xfrm>
            <a:custGeom>
              <a:avLst/>
              <a:gdLst>
                <a:gd name="T0" fmla="*/ 1 w 80"/>
                <a:gd name="T1" fmla="*/ 99 h 107"/>
                <a:gd name="T2" fmla="*/ 60 w 80"/>
                <a:gd name="T3" fmla="*/ 13 h 107"/>
                <a:gd name="T4" fmla="*/ 80 w 80"/>
                <a:gd name="T5" fmla="*/ 0 h 107"/>
                <a:gd name="T6" fmla="*/ 71 w 80"/>
                <a:gd name="T7" fmla="*/ 21 h 107"/>
                <a:gd name="T8" fmla="*/ 12 w 80"/>
                <a:gd name="T9" fmla="*/ 107 h 107"/>
                <a:gd name="T10" fmla="*/ 0 w 80"/>
                <a:gd name="T11" fmla="*/ 100 h 107"/>
                <a:gd name="T12" fmla="*/ 1 w 80"/>
                <a:gd name="T13" fmla="*/ 9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07">
                  <a:moveTo>
                    <a:pt x="1" y="99"/>
                  </a:moveTo>
                  <a:lnTo>
                    <a:pt x="60" y="13"/>
                  </a:lnTo>
                  <a:lnTo>
                    <a:pt x="80" y="0"/>
                  </a:lnTo>
                  <a:lnTo>
                    <a:pt x="71" y="21"/>
                  </a:lnTo>
                  <a:lnTo>
                    <a:pt x="12" y="107"/>
                  </a:lnTo>
                  <a:lnTo>
                    <a:pt x="0" y="100"/>
                  </a:lnTo>
                  <a:lnTo>
                    <a:pt x="1" y="99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8" name="Freeform 97">
              <a:extLst>
                <a:ext uri="{FF2B5EF4-FFF2-40B4-BE49-F238E27FC236}">
                  <a16:creationId xmlns:a16="http://schemas.microsoft.com/office/drawing/2014/main" id="{0F080558-E3F5-498F-A11D-5DDF8AA1177C}"/>
                </a:ext>
              </a:extLst>
            </p:cNvPr>
            <p:cNvSpPr/>
            <p:nvPr/>
          </p:nvSpPr>
          <p:spPr bwMode="auto">
            <a:xfrm>
              <a:off x="7952411" y="3195423"/>
              <a:ext cx="15871" cy="31741"/>
            </a:xfrm>
            <a:custGeom>
              <a:avLst/>
              <a:gdLst>
                <a:gd name="T0" fmla="*/ 2 w 7"/>
                <a:gd name="T1" fmla="*/ 3 h 15"/>
                <a:gd name="T2" fmla="*/ 5 w 7"/>
                <a:gd name="T3" fmla="*/ 1 h 15"/>
                <a:gd name="T4" fmla="*/ 7 w 7"/>
                <a:gd name="T5" fmla="*/ 3 h 15"/>
                <a:gd name="T6" fmla="*/ 5 w 7"/>
                <a:gd name="T7" fmla="*/ 13 h 15"/>
                <a:gd name="T8" fmla="*/ 3 w 7"/>
                <a:gd name="T9" fmla="*/ 15 h 15"/>
                <a:gd name="T10" fmla="*/ 1 w 7"/>
                <a:gd name="T11" fmla="*/ 12 h 15"/>
                <a:gd name="T12" fmla="*/ 2 w 7"/>
                <a:gd name="T1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5">
                  <a:moveTo>
                    <a:pt x="2" y="3"/>
                  </a:moveTo>
                  <a:cubicBezTo>
                    <a:pt x="3" y="1"/>
                    <a:pt x="4" y="0"/>
                    <a:pt x="5" y="1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4" y="15"/>
                    <a:pt x="3" y="15"/>
                  </a:cubicBezTo>
                  <a:cubicBezTo>
                    <a:pt x="1" y="15"/>
                    <a:pt x="0" y="13"/>
                    <a:pt x="1" y="12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  <p:sp>
          <p:nvSpPr>
            <p:cNvPr id="89" name="Freeform 98">
              <a:extLst>
                <a:ext uri="{FF2B5EF4-FFF2-40B4-BE49-F238E27FC236}">
                  <a16:creationId xmlns:a16="http://schemas.microsoft.com/office/drawing/2014/main" id="{0E88CD2F-F655-44BB-B10A-1772B9566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1624" y="1587705"/>
              <a:ext cx="220605" cy="236476"/>
            </a:xfrm>
            <a:custGeom>
              <a:avLst/>
              <a:gdLst>
                <a:gd name="T0" fmla="*/ 78 w 101"/>
                <a:gd name="T1" fmla="*/ 50 h 109"/>
                <a:gd name="T2" fmla="*/ 76 w 101"/>
                <a:gd name="T3" fmla="*/ 62 h 109"/>
                <a:gd name="T4" fmla="*/ 76 w 101"/>
                <a:gd name="T5" fmla="*/ 73 h 109"/>
                <a:gd name="T6" fmla="*/ 78 w 101"/>
                <a:gd name="T7" fmla="*/ 73 h 109"/>
                <a:gd name="T8" fmla="*/ 86 w 101"/>
                <a:gd name="T9" fmla="*/ 86 h 109"/>
                <a:gd name="T10" fmla="*/ 76 w 101"/>
                <a:gd name="T11" fmla="*/ 79 h 109"/>
                <a:gd name="T12" fmla="*/ 76 w 101"/>
                <a:gd name="T13" fmla="*/ 22 h 109"/>
                <a:gd name="T14" fmla="*/ 86 w 101"/>
                <a:gd name="T15" fmla="*/ 15 h 109"/>
                <a:gd name="T16" fmla="*/ 78 w 101"/>
                <a:gd name="T17" fmla="*/ 27 h 109"/>
                <a:gd name="T18" fmla="*/ 76 w 101"/>
                <a:gd name="T19" fmla="*/ 28 h 109"/>
                <a:gd name="T20" fmla="*/ 99 w 101"/>
                <a:gd name="T21" fmla="*/ 48 h 109"/>
                <a:gd name="T22" fmla="*/ 84 w 101"/>
                <a:gd name="T23" fmla="*/ 50 h 109"/>
                <a:gd name="T24" fmla="*/ 99 w 101"/>
                <a:gd name="T25" fmla="*/ 53 h 109"/>
                <a:gd name="T26" fmla="*/ 99 w 101"/>
                <a:gd name="T27" fmla="*/ 48 h 109"/>
                <a:gd name="T28" fmla="*/ 53 w 101"/>
                <a:gd name="T29" fmla="*/ 109 h 109"/>
                <a:gd name="T30" fmla="*/ 66 w 101"/>
                <a:gd name="T31" fmla="*/ 73 h 109"/>
                <a:gd name="T32" fmla="*/ 76 w 101"/>
                <a:gd name="T33" fmla="*/ 38 h 109"/>
                <a:gd name="T34" fmla="*/ 51 w 101"/>
                <a:gd name="T35" fmla="*/ 28 h 109"/>
                <a:gd name="T36" fmla="*/ 73 w 101"/>
                <a:gd name="T37" fmla="*/ 50 h 109"/>
                <a:gd name="T38" fmla="*/ 62 w 101"/>
                <a:gd name="T39" fmla="*/ 69 h 109"/>
                <a:gd name="T40" fmla="*/ 61 w 101"/>
                <a:gd name="T41" fmla="*/ 84 h 109"/>
                <a:gd name="T42" fmla="*/ 51 w 101"/>
                <a:gd name="T43" fmla="*/ 109 h 109"/>
                <a:gd name="T44" fmla="*/ 76 w 101"/>
                <a:gd name="T45" fmla="*/ 28 h 109"/>
                <a:gd name="T46" fmla="*/ 74 w 101"/>
                <a:gd name="T47" fmla="*/ 23 h 109"/>
                <a:gd name="T48" fmla="*/ 76 w 101"/>
                <a:gd name="T49" fmla="*/ 73 h 109"/>
                <a:gd name="T50" fmla="*/ 74 w 101"/>
                <a:gd name="T51" fmla="*/ 77 h 109"/>
                <a:gd name="T52" fmla="*/ 76 w 101"/>
                <a:gd name="T53" fmla="*/ 73 h 109"/>
                <a:gd name="T54" fmla="*/ 51 w 101"/>
                <a:gd name="T55" fmla="*/ 0 h 109"/>
                <a:gd name="T56" fmla="*/ 53 w 101"/>
                <a:gd name="T57" fmla="*/ 2 h 109"/>
                <a:gd name="T58" fmla="*/ 51 w 101"/>
                <a:gd name="T59" fmla="*/ 17 h 109"/>
                <a:gd name="T60" fmla="*/ 51 w 101"/>
                <a:gd name="T61" fmla="*/ 22 h 109"/>
                <a:gd name="T62" fmla="*/ 26 w 101"/>
                <a:gd name="T63" fmla="*/ 62 h 109"/>
                <a:gd name="T64" fmla="*/ 35 w 101"/>
                <a:gd name="T65" fmla="*/ 95 h 109"/>
                <a:gd name="T66" fmla="*/ 51 w 101"/>
                <a:gd name="T67" fmla="*/ 109 h 109"/>
                <a:gd name="T68" fmla="*/ 41 w 101"/>
                <a:gd name="T69" fmla="*/ 84 h 109"/>
                <a:gd name="T70" fmla="*/ 40 w 101"/>
                <a:gd name="T71" fmla="*/ 69 h 109"/>
                <a:gd name="T72" fmla="*/ 35 w 101"/>
                <a:gd name="T73" fmla="*/ 35 h 109"/>
                <a:gd name="T74" fmla="*/ 51 w 101"/>
                <a:gd name="T75" fmla="*/ 22 h 109"/>
                <a:gd name="T76" fmla="*/ 51 w 101"/>
                <a:gd name="T77" fmla="*/ 17 h 109"/>
                <a:gd name="T78" fmla="*/ 48 w 101"/>
                <a:gd name="T79" fmla="*/ 2 h 109"/>
                <a:gd name="T80" fmla="*/ 26 w 101"/>
                <a:gd name="T81" fmla="*/ 79 h 109"/>
                <a:gd name="T82" fmla="*/ 28 w 101"/>
                <a:gd name="T83" fmla="*/ 73 h 109"/>
                <a:gd name="T84" fmla="*/ 26 w 101"/>
                <a:gd name="T85" fmla="*/ 79 h 109"/>
                <a:gd name="T86" fmla="*/ 26 w 101"/>
                <a:gd name="T87" fmla="*/ 21 h 109"/>
                <a:gd name="T88" fmla="*/ 28 w 101"/>
                <a:gd name="T89" fmla="*/ 27 h 109"/>
                <a:gd name="T90" fmla="*/ 26 w 101"/>
                <a:gd name="T91" fmla="*/ 38 h 109"/>
                <a:gd name="T92" fmla="*/ 26 w 101"/>
                <a:gd name="T93" fmla="*/ 62 h 109"/>
                <a:gd name="T94" fmla="*/ 26 w 101"/>
                <a:gd name="T95" fmla="*/ 21 h 109"/>
                <a:gd name="T96" fmla="*/ 24 w 101"/>
                <a:gd name="T97" fmla="*/ 27 h 109"/>
                <a:gd name="T98" fmla="*/ 15 w 101"/>
                <a:gd name="T99" fmla="*/ 18 h 109"/>
                <a:gd name="T100" fmla="*/ 19 w 101"/>
                <a:gd name="T101" fmla="*/ 15 h 109"/>
                <a:gd name="T102" fmla="*/ 26 w 101"/>
                <a:gd name="T103" fmla="*/ 73 h 109"/>
                <a:gd name="T104" fmla="*/ 19 w 101"/>
                <a:gd name="T105" fmla="*/ 86 h 109"/>
                <a:gd name="T106" fmla="*/ 15 w 101"/>
                <a:gd name="T107" fmla="*/ 82 h 109"/>
                <a:gd name="T108" fmla="*/ 24 w 101"/>
                <a:gd name="T109" fmla="*/ 73 h 109"/>
                <a:gd name="T110" fmla="*/ 18 w 101"/>
                <a:gd name="T111" fmla="*/ 50 h 109"/>
                <a:gd name="T112" fmla="*/ 15 w 101"/>
                <a:gd name="T113" fmla="*/ 48 h 109"/>
                <a:gd name="T114" fmla="*/ 0 w 101"/>
                <a:gd name="T115" fmla="*/ 50 h 109"/>
                <a:gd name="T116" fmla="*/ 15 w 101"/>
                <a:gd name="T117" fmla="*/ 5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09">
                  <a:moveTo>
                    <a:pt x="76" y="62"/>
                  </a:moveTo>
                  <a:cubicBezTo>
                    <a:pt x="78" y="58"/>
                    <a:pt x="78" y="54"/>
                    <a:pt x="78" y="50"/>
                  </a:cubicBezTo>
                  <a:cubicBezTo>
                    <a:pt x="78" y="46"/>
                    <a:pt x="78" y="42"/>
                    <a:pt x="76" y="38"/>
                  </a:cubicBezTo>
                  <a:cubicBezTo>
                    <a:pt x="76" y="62"/>
                    <a:pt x="76" y="62"/>
                    <a:pt x="76" y="62"/>
                  </a:cubicBezTo>
                  <a:close/>
                  <a:moveTo>
                    <a:pt x="76" y="79"/>
                  </a:moveTo>
                  <a:cubicBezTo>
                    <a:pt x="76" y="73"/>
                    <a:pt x="76" y="73"/>
                    <a:pt x="76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7" y="83"/>
                    <a:pt x="87" y="85"/>
                    <a:pt x="86" y="86"/>
                  </a:cubicBezTo>
                  <a:cubicBezTo>
                    <a:pt x="85" y="87"/>
                    <a:pt x="84" y="87"/>
                    <a:pt x="83" y="86"/>
                  </a:cubicBezTo>
                  <a:cubicBezTo>
                    <a:pt x="76" y="79"/>
                    <a:pt x="76" y="79"/>
                    <a:pt x="76" y="79"/>
                  </a:cubicBezTo>
                  <a:close/>
                  <a:moveTo>
                    <a:pt x="76" y="28"/>
                  </a:moveTo>
                  <a:cubicBezTo>
                    <a:pt x="76" y="22"/>
                    <a:pt x="76" y="22"/>
                    <a:pt x="76" y="22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4" y="14"/>
                    <a:pt x="85" y="14"/>
                    <a:pt x="86" y="15"/>
                  </a:cubicBezTo>
                  <a:cubicBezTo>
                    <a:pt x="87" y="16"/>
                    <a:pt x="87" y="17"/>
                    <a:pt x="86" y="1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7" y="28"/>
                    <a:pt x="77" y="28"/>
                    <a:pt x="76" y="28"/>
                  </a:cubicBezTo>
                  <a:close/>
                  <a:moveTo>
                    <a:pt x="99" y="48"/>
                  </a:moveTo>
                  <a:cubicBezTo>
                    <a:pt x="99" y="48"/>
                    <a:pt x="99" y="48"/>
                    <a:pt x="99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8"/>
                    <a:pt x="84" y="49"/>
                    <a:pt x="84" y="50"/>
                  </a:cubicBezTo>
                  <a:cubicBezTo>
                    <a:pt x="84" y="52"/>
                    <a:pt x="85" y="53"/>
                    <a:pt x="86" y="53"/>
                  </a:cubicBezTo>
                  <a:cubicBezTo>
                    <a:pt x="99" y="53"/>
                    <a:pt x="99" y="53"/>
                    <a:pt x="99" y="53"/>
                  </a:cubicBezTo>
                  <a:cubicBezTo>
                    <a:pt x="100" y="53"/>
                    <a:pt x="101" y="52"/>
                    <a:pt x="101" y="50"/>
                  </a:cubicBezTo>
                  <a:cubicBezTo>
                    <a:pt x="101" y="49"/>
                    <a:pt x="100" y="48"/>
                    <a:pt x="99" y="48"/>
                  </a:cubicBezTo>
                  <a:close/>
                  <a:moveTo>
                    <a:pt x="51" y="109"/>
                  </a:moveTo>
                  <a:cubicBezTo>
                    <a:pt x="53" y="109"/>
                    <a:pt x="53" y="109"/>
                    <a:pt x="53" y="109"/>
                  </a:cubicBezTo>
                  <a:cubicBezTo>
                    <a:pt x="60" y="109"/>
                    <a:pt x="66" y="103"/>
                    <a:pt x="66" y="95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0" y="70"/>
                    <a:pt x="74" y="67"/>
                    <a:pt x="76" y="62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1" y="29"/>
                    <a:pt x="62" y="22"/>
                    <a:pt x="51" y="22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7" y="28"/>
                    <a:pt x="62" y="31"/>
                    <a:pt x="66" y="35"/>
                  </a:cubicBezTo>
                  <a:cubicBezTo>
                    <a:pt x="70" y="39"/>
                    <a:pt x="73" y="44"/>
                    <a:pt x="73" y="50"/>
                  </a:cubicBezTo>
                  <a:cubicBezTo>
                    <a:pt x="73" y="58"/>
                    <a:pt x="68" y="65"/>
                    <a:pt x="62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1" y="70"/>
                    <a:pt x="61" y="71"/>
                    <a:pt x="61" y="72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51" y="109"/>
                    <a:pt x="51" y="109"/>
                    <a:pt x="51" y="109"/>
                  </a:cubicBezTo>
                  <a:close/>
                  <a:moveTo>
                    <a:pt x="76" y="22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5" y="28"/>
                    <a:pt x="75" y="28"/>
                    <a:pt x="74" y="27"/>
                  </a:cubicBezTo>
                  <a:cubicBezTo>
                    <a:pt x="73" y="26"/>
                    <a:pt x="73" y="24"/>
                    <a:pt x="74" y="23"/>
                  </a:cubicBezTo>
                  <a:cubicBezTo>
                    <a:pt x="76" y="22"/>
                    <a:pt x="76" y="22"/>
                    <a:pt x="76" y="22"/>
                  </a:cubicBezTo>
                  <a:close/>
                  <a:moveTo>
                    <a:pt x="76" y="73"/>
                  </a:moveTo>
                  <a:cubicBezTo>
                    <a:pt x="76" y="79"/>
                    <a:pt x="76" y="79"/>
                    <a:pt x="76" y="7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3" y="76"/>
                    <a:pt x="73" y="74"/>
                    <a:pt x="74" y="73"/>
                  </a:cubicBezTo>
                  <a:cubicBezTo>
                    <a:pt x="75" y="73"/>
                    <a:pt x="75" y="73"/>
                    <a:pt x="76" y="73"/>
                  </a:cubicBezTo>
                  <a:close/>
                  <a:moveTo>
                    <a:pt x="51" y="17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6"/>
                    <a:pt x="52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lose/>
                  <a:moveTo>
                    <a:pt x="51" y="22"/>
                  </a:moveTo>
                  <a:cubicBezTo>
                    <a:pt x="40" y="22"/>
                    <a:pt x="30" y="29"/>
                    <a:pt x="26" y="38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8" y="67"/>
                    <a:pt x="31" y="71"/>
                    <a:pt x="35" y="74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103"/>
                    <a:pt x="42" y="109"/>
                    <a:pt x="49" y="109"/>
                  </a:cubicBezTo>
                  <a:cubicBezTo>
                    <a:pt x="51" y="109"/>
                    <a:pt x="51" y="109"/>
                    <a:pt x="51" y="109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1"/>
                    <a:pt x="41" y="70"/>
                    <a:pt x="40" y="69"/>
                  </a:cubicBezTo>
                  <a:cubicBezTo>
                    <a:pt x="33" y="66"/>
                    <a:pt x="28" y="58"/>
                    <a:pt x="28" y="50"/>
                  </a:cubicBezTo>
                  <a:cubicBezTo>
                    <a:pt x="28" y="44"/>
                    <a:pt x="31" y="39"/>
                    <a:pt x="35" y="35"/>
                  </a:cubicBezTo>
                  <a:cubicBezTo>
                    <a:pt x="39" y="31"/>
                    <a:pt x="44" y="28"/>
                    <a:pt x="51" y="28"/>
                  </a:cubicBezTo>
                  <a:cubicBezTo>
                    <a:pt x="51" y="22"/>
                    <a:pt x="51" y="22"/>
                    <a:pt x="51" y="22"/>
                  </a:cubicBezTo>
                  <a:close/>
                  <a:moveTo>
                    <a:pt x="51" y="0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49" y="17"/>
                    <a:pt x="48" y="16"/>
                    <a:pt x="48" y="15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1"/>
                    <a:pt x="49" y="0"/>
                    <a:pt x="51" y="0"/>
                  </a:cubicBezTo>
                  <a:close/>
                  <a:moveTo>
                    <a:pt x="26" y="79"/>
                  </a:move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7" y="73"/>
                    <a:pt x="28" y="73"/>
                  </a:cubicBezTo>
                  <a:cubicBezTo>
                    <a:pt x="29" y="74"/>
                    <a:pt x="29" y="76"/>
                    <a:pt x="28" y="77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6" y="28"/>
                  </a:moveTo>
                  <a:cubicBezTo>
                    <a:pt x="26" y="21"/>
                    <a:pt x="26" y="21"/>
                    <a:pt x="26" y="21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9" y="24"/>
                    <a:pt x="29" y="26"/>
                    <a:pt x="28" y="27"/>
                  </a:cubicBezTo>
                  <a:cubicBezTo>
                    <a:pt x="27" y="28"/>
                    <a:pt x="26" y="28"/>
                    <a:pt x="26" y="28"/>
                  </a:cubicBezTo>
                  <a:close/>
                  <a:moveTo>
                    <a:pt x="26" y="38"/>
                  </a:moveTo>
                  <a:cubicBezTo>
                    <a:pt x="24" y="42"/>
                    <a:pt x="23" y="46"/>
                    <a:pt x="23" y="50"/>
                  </a:cubicBezTo>
                  <a:cubicBezTo>
                    <a:pt x="23" y="55"/>
                    <a:pt x="24" y="59"/>
                    <a:pt x="26" y="62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26" y="21"/>
                  </a:moveTo>
                  <a:cubicBezTo>
                    <a:pt x="26" y="28"/>
                    <a:pt x="26" y="28"/>
                    <a:pt x="26" y="28"/>
                  </a:cubicBezTo>
                  <a:cubicBezTo>
                    <a:pt x="25" y="28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7"/>
                    <a:pt x="14" y="16"/>
                    <a:pt x="15" y="15"/>
                  </a:cubicBezTo>
                  <a:cubicBezTo>
                    <a:pt x="16" y="14"/>
                    <a:pt x="18" y="14"/>
                    <a:pt x="19" y="15"/>
                  </a:cubicBezTo>
                  <a:cubicBezTo>
                    <a:pt x="26" y="21"/>
                    <a:pt x="26" y="21"/>
                    <a:pt x="26" y="21"/>
                  </a:cubicBezTo>
                  <a:close/>
                  <a:moveTo>
                    <a:pt x="26" y="73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8" y="87"/>
                    <a:pt x="16" y="87"/>
                    <a:pt x="15" y="86"/>
                  </a:cubicBezTo>
                  <a:cubicBezTo>
                    <a:pt x="14" y="85"/>
                    <a:pt x="14" y="83"/>
                    <a:pt x="15" y="82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5" y="73"/>
                    <a:pt x="26" y="73"/>
                  </a:cubicBezTo>
                  <a:close/>
                  <a:moveTo>
                    <a:pt x="18" y="50"/>
                  </a:moveTo>
                  <a:cubicBezTo>
                    <a:pt x="18" y="50"/>
                    <a:pt x="18" y="50"/>
                    <a:pt x="18" y="50"/>
                  </a:cubicBezTo>
                  <a:cubicBezTo>
                    <a:pt x="18" y="49"/>
                    <a:pt x="17" y="48"/>
                    <a:pt x="15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" y="48"/>
                    <a:pt x="0" y="49"/>
                    <a:pt x="0" y="50"/>
                  </a:cubicBezTo>
                  <a:cubicBezTo>
                    <a:pt x="0" y="52"/>
                    <a:pt x="2" y="53"/>
                    <a:pt x="3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7" y="53"/>
                    <a:pt x="18" y="52"/>
                    <a:pt x="18" y="50"/>
                  </a:cubicBezTo>
                  <a:close/>
                </a:path>
              </a:pathLst>
            </a:custGeom>
            <a:solidFill>
              <a:srgbClr val="C5C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16" tIns="45708" rIns="91416" bIns="45708" numCol="1" anchor="t" anchorCtr="0" compatLnSpc="1"/>
            <a:lstStyle/>
            <a:p>
              <a:endParaRPr lang="id-ID" sz="1345">
                <a:latin typeface="Arial"/>
                <a:ea typeface="微软雅黑"/>
                <a:sym typeface="Arial"/>
              </a:endParaRPr>
            </a:p>
          </p:txBody>
        </p:sp>
      </p:grp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9B3E02BC-496A-4F29-9F42-6DDA38FC1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979586"/>
              </p:ext>
            </p:extLst>
          </p:nvPr>
        </p:nvGraphicFramePr>
        <p:xfrm>
          <a:off x="609858" y="689799"/>
          <a:ext cx="7212414" cy="53295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0391">
                  <a:extLst>
                    <a:ext uri="{9D8B030D-6E8A-4147-A177-3AD203B41FA5}">
                      <a16:colId xmlns:a16="http://schemas.microsoft.com/office/drawing/2014/main" val="3280984751"/>
                    </a:ext>
                  </a:extLst>
                </a:gridCol>
                <a:gridCol w="926063">
                  <a:extLst>
                    <a:ext uri="{9D8B030D-6E8A-4147-A177-3AD203B41FA5}">
                      <a16:colId xmlns:a16="http://schemas.microsoft.com/office/drawing/2014/main" val="1774444415"/>
                    </a:ext>
                  </a:extLst>
                </a:gridCol>
                <a:gridCol w="5735960">
                  <a:extLst>
                    <a:ext uri="{9D8B030D-6E8A-4147-A177-3AD203B41FA5}">
                      <a16:colId xmlns:a16="http://schemas.microsoft.com/office/drawing/2014/main" val="1450459991"/>
                    </a:ext>
                  </a:extLst>
                </a:gridCol>
              </a:tblGrid>
              <a:tr h="40561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600" u="none" strike="noStrike" dirty="0">
                          <a:effectLst/>
                        </a:rPr>
                        <a:t>厂房施工需求</a:t>
                      </a:r>
                      <a:endParaRPr lang="zh-CN" altLang="en-US" sz="16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2561109"/>
                  </a:ext>
                </a:extLst>
              </a:tr>
              <a:tr h="50218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整体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大白翻新，办公楼内都换门，</a:t>
                      </a:r>
                      <a: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门厅换门</a:t>
                      </a:r>
                      <a:r>
                        <a:rPr lang="zh-CN" altLang="en-US" sz="1000" u="none" strike="noStrike" dirty="0">
                          <a:effectLst/>
                        </a:rPr>
                        <a:t>，维修户外台阶，棚顶翻新，安装灯，暖气改造（办公楼暖气增加，车间增加上下双层暖气），车间新增功能区域需设置防撞栏，立式空调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开荒清洁；</a:t>
                      </a:r>
                      <a:endParaRPr lang="zh-CN" altLang="en-US" sz="10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3146298"/>
                  </a:ext>
                </a:extLst>
              </a:tr>
              <a:tr h="59526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楼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整体</a:t>
                      </a:r>
                      <a: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浅灰色花纹瓷砖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会议室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正对门的墙上留空调插座，投影幕布插座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en-US" altLang="zh-CN" sz="1000" u="none" strike="noStrike" dirty="0">
                          <a:effectLst/>
                        </a:rPr>
                        <a:t>X</a:t>
                      </a:r>
                      <a:r>
                        <a:rPr lang="zh-CN" altLang="en-US" sz="1000" u="none" strike="noStrike" dirty="0">
                          <a:effectLst/>
                        </a:rPr>
                        <a:t>形钢结构整体挡住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91230"/>
                  </a:ext>
                </a:extLst>
              </a:tr>
              <a:tr h="5021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办公室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屋内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en-US" altLang="zh-CN" sz="1000" u="none" strike="noStrike" dirty="0">
                          <a:effectLst/>
                        </a:rPr>
                        <a:t>X</a:t>
                      </a:r>
                      <a:r>
                        <a:rPr lang="zh-CN" altLang="en-US" sz="1000" u="none" strike="noStrike" dirty="0">
                          <a:effectLst/>
                        </a:rPr>
                        <a:t>形钢结构整体挡住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577780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小厅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屋内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087098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楼梯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楼梯翻新，踏步刷油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071989"/>
                  </a:ext>
                </a:extLst>
              </a:tr>
              <a:tr h="50218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楼</a:t>
                      </a:r>
                      <a:b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整体浅灰色花纹瓷砖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卫生间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洗手台改造翻新，留电源插座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卫生间改造翻新，</a:t>
                      </a:r>
                      <a:r>
                        <a:rPr lang="en-US" altLang="zh-CN" sz="1000" u="none" strike="noStrike" dirty="0"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</a:rPr>
                        <a:t>男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女，留排风扇，男卫生间留电源插座（我公司有热水器，管路布线热水直接洗手台）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3484795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保洁室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留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3816606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大厅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隔一个大生产办公室（双层玻璃灰色折页），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3</a:t>
                      </a:r>
                      <a:r>
                        <a:rPr lang="zh-CN" altLang="en-US" sz="1000" u="none" strike="noStrike" dirty="0">
                          <a:effectLst/>
                        </a:rPr>
                        <a:t>；墙上留空调插座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683826"/>
                  </a:ext>
                </a:extLst>
              </a:tr>
              <a:tr h="25109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车间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（双层暖气片）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卫生间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</a:rPr>
                        <a:t>卫生间</a:t>
                      </a: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男</a:t>
                      </a: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女，设排风扇，长条拖布池，洗手池；男卫生间留电源接口（我公司有热水器，管路布线热水直接洗手池）；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226673"/>
                  </a:ext>
                </a:extLst>
              </a:tr>
              <a:tr h="75328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</a:rPr>
                        <a:t>台球室、产品展示区、对标室、休息室、餐厅（整体铺地板）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办公区隔断采用轻钢龙骨加岩棉，正面采用铝合金型材做隔断封闭（单层玻璃磨砂），顶面采用矿棉板吊顶、灯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每个隔断预留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，产品展示区要做射灯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小餐厅，留电视、音响、转桌插座（转桌需要地插）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9777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空压机房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隔音材质，排风扇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1662374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充电区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叉车充电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防爆电气，报警连锁、排风扇（待政策条件允许时施工）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793061"/>
                  </a:ext>
                </a:extLst>
              </a:tr>
              <a:tr h="2510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桥架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配电室到充电区搭建</a:t>
                      </a:r>
                      <a:r>
                        <a:rPr lang="en-US" altLang="zh-CN" sz="1000" u="none" strike="noStrike" dirty="0">
                          <a:effectLst/>
                        </a:rPr>
                        <a:t>10</a:t>
                      </a:r>
                      <a:r>
                        <a:rPr lang="zh-CN" altLang="en-US" sz="1000" u="none" strike="noStrike" dirty="0">
                          <a:effectLst/>
                        </a:rPr>
                        <a:t>平方电线的桥架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3689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6149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713F1B2A-9428-40AD-B266-B50AA9A33C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5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2427A52-3398-4E82-AFEF-B30995627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195" y="857864"/>
            <a:ext cx="5439989" cy="4983606"/>
          </a:xfrm>
          <a:prstGeom prst="rect">
            <a:avLst/>
          </a:prstGeom>
        </p:spPr>
      </p:pic>
      <p:sp>
        <p:nvSpPr>
          <p:cNvPr id="13" name="Title 9">
            <a:extLst>
              <a:ext uri="{FF2B5EF4-FFF2-40B4-BE49-F238E27FC236}">
                <a16:creationId xmlns:a16="http://schemas.microsoft.com/office/drawing/2014/main" id="{0543D6FE-590F-4FA2-8554-E2ED7752CFCA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ea typeface="思源黑体" panose="020B0400000000000000" pitchFamily="34" charset="-122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75F47AC-2B71-4EB0-99F3-D8310AD9BC5E}"/>
              </a:ext>
            </a:extLst>
          </p:cNvPr>
          <p:cNvSpPr/>
          <p:nvPr/>
        </p:nvSpPr>
        <p:spPr>
          <a:xfrm>
            <a:off x="4989692" y="1810484"/>
            <a:ext cx="189566" cy="4360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8DF9B41-34B6-4D0E-9DD2-CBC6776BB58C}"/>
              </a:ext>
            </a:extLst>
          </p:cNvPr>
          <p:cNvSpPr/>
          <p:nvPr/>
        </p:nvSpPr>
        <p:spPr>
          <a:xfrm>
            <a:off x="4989692" y="2866470"/>
            <a:ext cx="160202" cy="116074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1FBCF075-EB54-4782-ACBC-09E514507007}"/>
              </a:ext>
            </a:extLst>
          </p:cNvPr>
          <p:cNvCxnSpPr>
            <a:cxnSpLocks/>
          </p:cNvCxnSpPr>
          <p:nvPr/>
        </p:nvCxnSpPr>
        <p:spPr>
          <a:xfrm>
            <a:off x="3986757" y="1786056"/>
            <a:ext cx="0" cy="2794819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线形标注 1(带边框和强调线) 26">
            <a:extLst>
              <a:ext uri="{FF2B5EF4-FFF2-40B4-BE49-F238E27FC236}">
                <a16:creationId xmlns:a16="http://schemas.microsoft.com/office/drawing/2014/main" id="{C2431E79-E89A-4AA4-B40D-D8C97D81C5FD}"/>
              </a:ext>
            </a:extLst>
          </p:cNvPr>
          <p:cNvSpPr/>
          <p:nvPr/>
        </p:nvSpPr>
        <p:spPr>
          <a:xfrm>
            <a:off x="4173941" y="1984978"/>
            <a:ext cx="740007" cy="436034"/>
          </a:xfrm>
          <a:prstGeom prst="accentBorderCallout1">
            <a:avLst>
              <a:gd name="adj1" fmla="val 18750"/>
              <a:gd name="adj2" fmla="val -8333"/>
              <a:gd name="adj3" fmla="val 64994"/>
              <a:gd name="adj4" fmla="val -25967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隔断</a:t>
            </a:r>
            <a:r>
              <a:rPr lang="en-US" altLang="zh-CN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防改造</a:t>
            </a:r>
            <a:r>
              <a:rPr lang="en-US" altLang="zh-CN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散热器</a:t>
            </a:r>
            <a:endParaRPr lang="en-US" altLang="zh-CN" sz="800" dirty="0"/>
          </a:p>
        </p:txBody>
      </p:sp>
      <p:sp>
        <p:nvSpPr>
          <p:cNvPr id="25" name="线形标注 1(带边框和强调线) 47">
            <a:extLst>
              <a:ext uri="{FF2B5EF4-FFF2-40B4-BE49-F238E27FC236}">
                <a16:creationId xmlns:a16="http://schemas.microsoft.com/office/drawing/2014/main" id="{23F80E48-D8DA-4E1E-828A-F901214CA767}"/>
              </a:ext>
            </a:extLst>
          </p:cNvPr>
          <p:cNvSpPr/>
          <p:nvPr/>
        </p:nvSpPr>
        <p:spPr>
          <a:xfrm>
            <a:off x="4141720" y="4093898"/>
            <a:ext cx="693009" cy="154235"/>
          </a:xfrm>
          <a:prstGeom prst="accentBorderCallout1">
            <a:avLst>
              <a:gd name="adj1" fmla="val 28595"/>
              <a:gd name="adj2" fmla="val 108791"/>
              <a:gd name="adj3" fmla="val 272226"/>
              <a:gd name="adj4" fmla="val 136442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力增容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线形标注 1(带边框和强调线) 26">
            <a:extLst>
              <a:ext uri="{FF2B5EF4-FFF2-40B4-BE49-F238E27FC236}">
                <a16:creationId xmlns:a16="http://schemas.microsoft.com/office/drawing/2014/main" id="{581C4263-49E7-4522-8EF0-D49C59D6F9A6}"/>
              </a:ext>
            </a:extLst>
          </p:cNvPr>
          <p:cNvSpPr/>
          <p:nvPr/>
        </p:nvSpPr>
        <p:spPr>
          <a:xfrm>
            <a:off x="4169582" y="3398363"/>
            <a:ext cx="693009" cy="265587"/>
          </a:xfrm>
          <a:prstGeom prst="accentBorderCallout1">
            <a:avLst>
              <a:gd name="adj1" fmla="val 50941"/>
              <a:gd name="adj2" fmla="val -7271"/>
              <a:gd name="adj3" fmla="val 28358"/>
              <a:gd name="adj4" fmla="val -17642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层散热器改成双排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线形标注 1(带边框和强调线) 26">
            <a:extLst>
              <a:ext uri="{FF2B5EF4-FFF2-40B4-BE49-F238E27FC236}">
                <a16:creationId xmlns:a16="http://schemas.microsoft.com/office/drawing/2014/main" id="{C5AEE4CA-67C3-4A67-AD75-22EA9FA0FD38}"/>
              </a:ext>
            </a:extLst>
          </p:cNvPr>
          <p:cNvSpPr/>
          <p:nvPr/>
        </p:nvSpPr>
        <p:spPr>
          <a:xfrm>
            <a:off x="2506628" y="2591327"/>
            <a:ext cx="797492" cy="683830"/>
          </a:xfrm>
          <a:prstGeom prst="accentBorderCallout1">
            <a:avLst>
              <a:gd name="adj1" fmla="val 18750"/>
              <a:gd name="adj2" fmla="val -8333"/>
              <a:gd name="adj3" fmla="val 301065"/>
              <a:gd name="adj4" fmla="val -12874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供暖区域供暖改造</a:t>
            </a:r>
            <a:endParaRPr lang="en-US" altLang="zh-CN" sz="11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BEF0A8FD-8F8C-411E-89EE-59D20059829E}"/>
              </a:ext>
            </a:extLst>
          </p:cNvPr>
          <p:cNvSpPr/>
          <p:nvPr/>
        </p:nvSpPr>
        <p:spPr>
          <a:xfrm>
            <a:off x="4989692" y="4150192"/>
            <a:ext cx="160202" cy="48288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DF1610C-1DF7-4A97-9A46-8DA139511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3682" y="857864"/>
            <a:ext cx="4002724" cy="5018838"/>
          </a:xfrm>
          <a:prstGeom prst="rect">
            <a:avLst/>
          </a:prstGeom>
        </p:spPr>
      </p:pic>
      <p:sp>
        <p:nvSpPr>
          <p:cNvPr id="20" name="线形标注 1(带边框和强调线) 26">
            <a:extLst>
              <a:ext uri="{FF2B5EF4-FFF2-40B4-BE49-F238E27FC236}">
                <a16:creationId xmlns:a16="http://schemas.microsoft.com/office/drawing/2014/main" id="{7C5CA52F-97C8-450A-AB01-53D66F1A03CA}"/>
              </a:ext>
            </a:extLst>
          </p:cNvPr>
          <p:cNvSpPr/>
          <p:nvPr/>
        </p:nvSpPr>
        <p:spPr>
          <a:xfrm>
            <a:off x="5914286" y="4067103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16223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原办公区改造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线形标注 1(带边框和强调线) 26">
            <a:extLst>
              <a:ext uri="{FF2B5EF4-FFF2-40B4-BE49-F238E27FC236}">
                <a16:creationId xmlns:a16="http://schemas.microsoft.com/office/drawing/2014/main" id="{393B7943-6901-41E7-BEE3-CAE7C43B5EA2}"/>
              </a:ext>
            </a:extLst>
          </p:cNvPr>
          <p:cNvSpPr/>
          <p:nvPr/>
        </p:nvSpPr>
        <p:spPr>
          <a:xfrm>
            <a:off x="5907203" y="3240709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功能区（功能间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线形标注 1(带边框和强调线) 26">
            <a:extLst>
              <a:ext uri="{FF2B5EF4-FFF2-40B4-BE49-F238E27FC236}">
                <a16:creationId xmlns:a16="http://schemas.microsoft.com/office/drawing/2014/main" id="{03B87136-149F-4CFB-A2B1-1AF671F3CAAA}"/>
              </a:ext>
            </a:extLst>
          </p:cNvPr>
          <p:cNvSpPr/>
          <p:nvPr/>
        </p:nvSpPr>
        <p:spPr>
          <a:xfrm>
            <a:off x="5899254" y="1823185"/>
            <a:ext cx="900213" cy="379810"/>
          </a:xfrm>
          <a:prstGeom prst="accentBorderCallout1">
            <a:avLst>
              <a:gd name="adj1" fmla="val 18750"/>
              <a:gd name="adj2" fmla="val -8333"/>
              <a:gd name="adj3" fmla="val 64676"/>
              <a:gd name="adj4" fmla="val -89845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功能区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空压机房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线形标注 1(带边框和强调线) 26">
            <a:extLst>
              <a:ext uri="{FF2B5EF4-FFF2-40B4-BE49-F238E27FC236}">
                <a16:creationId xmlns:a16="http://schemas.microsoft.com/office/drawing/2014/main" id="{48A44EB5-3FB7-433D-862A-7C363FED71F8}"/>
              </a:ext>
            </a:extLst>
          </p:cNvPr>
          <p:cNvSpPr/>
          <p:nvPr/>
        </p:nvSpPr>
        <p:spPr>
          <a:xfrm>
            <a:off x="11163463" y="4789532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134642"/>
              <a:gd name="adj4" fmla="val -105049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原办公区改造</a:t>
            </a:r>
            <a:endParaRPr lang="en-US" altLang="zh-CN" sz="8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线形标注 1(带边框和强调线) 26">
            <a:extLst>
              <a:ext uri="{FF2B5EF4-FFF2-40B4-BE49-F238E27FC236}">
                <a16:creationId xmlns:a16="http://schemas.microsoft.com/office/drawing/2014/main" id="{32646DC9-2803-484E-8EAD-D64E2F57EF48}"/>
              </a:ext>
            </a:extLst>
          </p:cNvPr>
          <p:cNvSpPr/>
          <p:nvPr/>
        </p:nvSpPr>
        <p:spPr>
          <a:xfrm>
            <a:off x="11163463" y="2434239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122569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间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线形标注 1(带边框和强调线) 26">
            <a:extLst>
              <a:ext uri="{FF2B5EF4-FFF2-40B4-BE49-F238E27FC236}">
                <a16:creationId xmlns:a16="http://schemas.microsoft.com/office/drawing/2014/main" id="{372C4B9A-3C12-4514-84BD-243AC6936716}"/>
              </a:ext>
            </a:extLst>
          </p:cNvPr>
          <p:cNvSpPr/>
          <p:nvPr/>
        </p:nvSpPr>
        <p:spPr>
          <a:xfrm>
            <a:off x="11163463" y="2796257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97485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表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线形标注 1(带边框和强调线) 26">
            <a:extLst>
              <a:ext uri="{FF2B5EF4-FFF2-40B4-BE49-F238E27FC236}">
                <a16:creationId xmlns:a16="http://schemas.microsoft.com/office/drawing/2014/main" id="{6E55C5B1-7869-4CB8-BD29-065CF5075CEC}"/>
              </a:ext>
            </a:extLst>
          </p:cNvPr>
          <p:cNvSpPr/>
          <p:nvPr/>
        </p:nvSpPr>
        <p:spPr>
          <a:xfrm>
            <a:off x="11163463" y="3117051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休息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线形标注 1(带边框和强调线) 26">
            <a:extLst>
              <a:ext uri="{FF2B5EF4-FFF2-40B4-BE49-F238E27FC236}">
                <a16:creationId xmlns:a16="http://schemas.microsoft.com/office/drawing/2014/main" id="{63ECD9A4-F187-4B53-AB09-5DF494BFABF5}"/>
              </a:ext>
            </a:extLst>
          </p:cNvPr>
          <p:cNvSpPr/>
          <p:nvPr/>
        </p:nvSpPr>
        <p:spPr>
          <a:xfrm>
            <a:off x="11163463" y="3472134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餐厅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线形标注 1(带边框和强调线) 26">
            <a:extLst>
              <a:ext uri="{FF2B5EF4-FFF2-40B4-BE49-F238E27FC236}">
                <a16:creationId xmlns:a16="http://schemas.microsoft.com/office/drawing/2014/main" id="{88263F2C-F837-4073-8105-5892CE7FC46F}"/>
              </a:ext>
            </a:extLst>
          </p:cNvPr>
          <p:cNvSpPr/>
          <p:nvPr/>
        </p:nvSpPr>
        <p:spPr>
          <a:xfrm>
            <a:off x="11163463" y="3774070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厅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线形标注 1(带边框和强调线) 26">
            <a:extLst>
              <a:ext uri="{FF2B5EF4-FFF2-40B4-BE49-F238E27FC236}">
                <a16:creationId xmlns:a16="http://schemas.microsoft.com/office/drawing/2014/main" id="{445BBD42-B3C0-491B-8865-79FB1050CA33}"/>
              </a:ext>
            </a:extLst>
          </p:cNvPr>
          <p:cNvSpPr/>
          <p:nvPr/>
        </p:nvSpPr>
        <p:spPr>
          <a:xfrm>
            <a:off x="11163463" y="4079822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室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线形标注 1(带边框和强调线) 26">
            <a:extLst>
              <a:ext uri="{FF2B5EF4-FFF2-40B4-BE49-F238E27FC236}">
                <a16:creationId xmlns:a16="http://schemas.microsoft.com/office/drawing/2014/main" id="{E3EEEF3A-0EDC-4638-99C5-2487D587F072}"/>
              </a:ext>
            </a:extLst>
          </p:cNvPr>
          <p:cNvSpPr/>
          <p:nvPr/>
        </p:nvSpPr>
        <p:spPr>
          <a:xfrm>
            <a:off x="11163463" y="4388108"/>
            <a:ext cx="797492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线形标注 1(带边框和强调线) 26">
            <a:extLst>
              <a:ext uri="{FF2B5EF4-FFF2-40B4-BE49-F238E27FC236}">
                <a16:creationId xmlns:a16="http://schemas.microsoft.com/office/drawing/2014/main" id="{5E6F1EDF-1ACE-4925-BB98-27074A2232E0}"/>
              </a:ext>
            </a:extLst>
          </p:cNvPr>
          <p:cNvSpPr/>
          <p:nvPr/>
        </p:nvSpPr>
        <p:spPr>
          <a:xfrm>
            <a:off x="11163462" y="1048171"/>
            <a:ext cx="939441" cy="253147"/>
          </a:xfrm>
          <a:prstGeom prst="accentBorderCallout1">
            <a:avLst>
              <a:gd name="adj1" fmla="val 18750"/>
              <a:gd name="adj2" fmla="val -8333"/>
              <a:gd name="adj3" fmla="val 67384"/>
              <a:gd name="adj4" fmla="val -104253"/>
            </a:avLst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建（</a:t>
            </a:r>
            <a:r>
              <a:rPr lang="zh-CN" altLang="en-US" sz="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压机房</a:t>
            </a:r>
            <a:r>
              <a:rPr lang="zh-CN" altLang="en-US" sz="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8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91478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6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C6A28B07-3FFF-4272-8116-1F9834D9C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395" y="246038"/>
            <a:ext cx="11277600" cy="738664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4DC4776-85E7-4EC7-88DC-2B1919AA11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005" y="1050016"/>
            <a:ext cx="5182928" cy="2613631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868D9BE-4A11-4AA5-83C2-1CA1F6C8B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004" y="3955101"/>
            <a:ext cx="5182928" cy="2563692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4B8AA0DA-A757-4B12-A4F9-4C9581AE7396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ea typeface="思源黑体" panose="020B0400000000000000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31E4CFE-0389-4188-8DEE-32E21CB2947A}"/>
              </a:ext>
            </a:extLst>
          </p:cNvPr>
          <p:cNvSpPr txBox="1"/>
          <p:nvPr/>
        </p:nvSpPr>
        <p:spPr>
          <a:xfrm>
            <a:off x="549004" y="551936"/>
            <a:ext cx="7778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库房租赁区域增加隔断（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90㎡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防改造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3BED85D-BE70-4020-BD2E-82D594EC62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6109" y="1050015"/>
            <a:ext cx="5895758" cy="546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04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7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9FAA719B-94B7-4666-9750-0308106A5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13717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endParaRPr lang="zh-CN" altLang="en-US" sz="20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DA68246-C715-4C7D-B323-58F3D3CC3E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4052249"/>
            <a:ext cx="3644900" cy="227235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D72C2D0-A74C-4278-B4A6-F1F973EFC2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8976" y="4052249"/>
            <a:ext cx="3352733" cy="227235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5541248-0CBF-40A0-BE93-B1F1F30EF9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8583" y="4052249"/>
            <a:ext cx="3431475" cy="227235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FA371082-3FCB-4205-89EA-812D9B1A92C2}"/>
              </a:ext>
            </a:extLst>
          </p:cNvPr>
          <p:cNvSpPr txBox="1"/>
          <p:nvPr/>
        </p:nvSpPr>
        <p:spPr>
          <a:xfrm>
            <a:off x="3487420" y="3540798"/>
            <a:ext cx="6205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u="none" strike="noStrike" dirty="0">
                <a:solidFill>
                  <a:srgbClr val="C00000"/>
                </a:solidFill>
                <a:effectLst/>
              </a:rPr>
              <a:t>X</a:t>
            </a:r>
            <a:r>
              <a:rPr lang="zh-CN" altLang="en-US" sz="1800" u="none" strike="noStrike" dirty="0">
                <a:solidFill>
                  <a:srgbClr val="C00000"/>
                </a:solidFill>
                <a:effectLst/>
              </a:rPr>
              <a:t>形钢结构</a:t>
            </a:r>
            <a:r>
              <a:rPr lang="zh-CN" altLang="en-US" dirty="0">
                <a:solidFill>
                  <a:srgbClr val="C00000"/>
                </a:solidFill>
              </a:rPr>
              <a:t>增加石膏板隔断</a:t>
            </a:r>
            <a:r>
              <a:rPr lang="zh-CN" altLang="en-US" sz="1800" u="none" strike="noStrike" dirty="0">
                <a:solidFill>
                  <a:srgbClr val="C00000"/>
                </a:solidFill>
                <a:effectLst/>
              </a:rPr>
              <a:t>（</a:t>
            </a:r>
            <a:r>
              <a:rPr lang="en-US" altLang="zh-CN" sz="1800" u="none" strike="noStrike" dirty="0">
                <a:solidFill>
                  <a:srgbClr val="C00000"/>
                </a:solidFill>
                <a:effectLst/>
              </a:rPr>
              <a:t>3</a:t>
            </a:r>
            <a:r>
              <a:rPr lang="zh-CN" altLang="en-US" dirty="0">
                <a:solidFill>
                  <a:srgbClr val="C00000"/>
                </a:solidFill>
              </a:rPr>
              <a:t>处</a:t>
            </a:r>
            <a:r>
              <a:rPr lang="zh-CN" altLang="en-US" sz="1800" u="none" strike="noStrike" dirty="0">
                <a:solidFill>
                  <a:srgbClr val="C00000"/>
                </a:solidFill>
                <a:effectLst/>
              </a:rPr>
              <a:t>） </a:t>
            </a:r>
            <a:r>
              <a:rPr lang="zh-CN" altLang="en-US" dirty="0">
                <a:solidFill>
                  <a:srgbClr val="C00000"/>
                </a:solidFill>
              </a:rPr>
              <a:t>、</a:t>
            </a:r>
            <a:r>
              <a:rPr lang="zh-CN" altLang="en-US" sz="1800" u="none" strike="noStrike" dirty="0">
                <a:solidFill>
                  <a:srgbClr val="C00000"/>
                </a:solidFill>
                <a:effectLst/>
              </a:rPr>
              <a:t>散热器外移</a:t>
            </a:r>
            <a:endParaRPr lang="zh-CN" alt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0734C7C-3773-432E-9B72-14496D67B990}"/>
              </a:ext>
            </a:extLst>
          </p:cNvPr>
          <p:cNvSpPr txBox="1">
            <a:spLocks/>
          </p:cNvSpPr>
          <p:nvPr/>
        </p:nvSpPr>
        <p:spPr>
          <a:xfrm>
            <a:off x="437309" y="171850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ea typeface="思源黑体" panose="020B0400000000000000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4777C4E-EAD7-49F6-B2E0-74FC8F6FF0A3}"/>
              </a:ext>
            </a:extLst>
          </p:cNvPr>
          <p:cNvSpPr txBox="1"/>
          <p:nvPr/>
        </p:nvSpPr>
        <p:spPr>
          <a:xfrm>
            <a:off x="547019" y="533400"/>
            <a:ext cx="106198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8BE805A-7A19-495A-8C27-56914E92C5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200532"/>
              </p:ext>
            </p:extLst>
          </p:nvPr>
        </p:nvGraphicFramePr>
        <p:xfrm>
          <a:off x="547018" y="1544393"/>
          <a:ext cx="10753039" cy="18542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0582">
                  <a:extLst>
                    <a:ext uri="{9D8B030D-6E8A-4147-A177-3AD203B41FA5}">
                      <a16:colId xmlns:a16="http://schemas.microsoft.com/office/drawing/2014/main" val="3659751471"/>
                    </a:ext>
                  </a:extLst>
                </a:gridCol>
                <a:gridCol w="1380674">
                  <a:extLst>
                    <a:ext uri="{9D8B030D-6E8A-4147-A177-3AD203B41FA5}">
                      <a16:colId xmlns:a16="http://schemas.microsoft.com/office/drawing/2014/main" val="4226430493"/>
                    </a:ext>
                  </a:extLst>
                </a:gridCol>
                <a:gridCol w="8551783">
                  <a:extLst>
                    <a:ext uri="{9D8B030D-6E8A-4147-A177-3AD203B41FA5}">
                      <a16:colId xmlns:a16="http://schemas.microsoft.com/office/drawing/2014/main" val="1594004190"/>
                    </a:ext>
                  </a:extLst>
                </a:gridCol>
              </a:tblGrid>
              <a:tr h="44458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楼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整体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浅灰色花纹瓷砖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会议室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正对门的墙上留空调插座，投影幕布插座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X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形钢结构整体挡住；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817675"/>
                  </a:ext>
                </a:extLst>
              </a:tr>
              <a:tr h="30626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</a:rPr>
                        <a:t>办公室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屋内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X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形钢结构整体挡住；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4669994"/>
                  </a:ext>
                </a:extLst>
              </a:tr>
              <a:tr h="15313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小厅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屋内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1970213"/>
                  </a:ext>
                </a:extLst>
              </a:tr>
              <a:tr h="15313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楼梯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楼梯翻新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，踏步刷油；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306050"/>
                  </a:ext>
                </a:extLst>
              </a:tr>
              <a:tr h="44458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</a:rPr>
                        <a:t>楼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effectLst/>
                        </a:rPr>
                        <a:t>整体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浅灰色花纹瓷砖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卫生间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洗手台改造翻新，留电源插座；</a:t>
                      </a:r>
                      <a:br>
                        <a:rPr lang="zh-CN" altLang="en-US" sz="1000" u="none" strike="noStrike" dirty="0">
                          <a:effectLst/>
                        </a:rPr>
                      </a:b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卫生间改造翻新，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男</a:t>
                      </a:r>
                      <a:r>
                        <a:rPr lang="en-US" altLang="zh-CN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女，</a:t>
                      </a:r>
                      <a:r>
                        <a:rPr lang="zh-CN" altLang="en-US" sz="1000" u="none" strike="noStrike" dirty="0">
                          <a:effectLst/>
                        </a:rPr>
                        <a:t>留排风扇，男卫生间留电源插座（我公司有热水器，管路布线热水直接洗手台）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7308379"/>
                  </a:ext>
                </a:extLst>
              </a:tr>
              <a:tr h="15313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保洁室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</a:rPr>
                        <a:t>留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9808978"/>
                  </a:ext>
                </a:extLst>
              </a:tr>
              <a:tr h="15313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</a:rPr>
                        <a:t>大厅</a:t>
                      </a:r>
                      <a:endParaRPr lang="zh-CN" altLang="en-US" sz="10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隔一个大生产办公室（双层玻璃灰色折页），</a:t>
                      </a:r>
                      <a:r>
                        <a:rPr lang="zh-CN" altLang="en-US" sz="1000" u="none" strike="noStrike" dirty="0">
                          <a:effectLst/>
                        </a:rPr>
                        <a:t>网络接口，办公电源插座</a:t>
                      </a:r>
                      <a:r>
                        <a:rPr lang="en-US" altLang="zh-CN" sz="1000" u="none" strike="noStrike" dirty="0">
                          <a:effectLst/>
                        </a:rPr>
                        <a:t>3</a:t>
                      </a:r>
                      <a:r>
                        <a:rPr lang="zh-CN" altLang="en-US" sz="1000" u="none" strike="noStrike" dirty="0">
                          <a:effectLst/>
                        </a:rPr>
                        <a:t>；墙上留空调插座；</a:t>
                      </a:r>
                      <a:endParaRPr lang="zh-CN" altLang="en-US" sz="10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906640"/>
                  </a:ext>
                </a:extLst>
              </a:tr>
            </a:tbl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30BE42E9-A02C-4E44-8F31-679321DE2C5A}"/>
              </a:ext>
            </a:extLst>
          </p:cNvPr>
          <p:cNvSpPr txBox="1"/>
          <p:nvPr/>
        </p:nvSpPr>
        <p:spPr>
          <a:xfrm>
            <a:off x="484627" y="915662"/>
            <a:ext cx="108154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zh-CN" altLang="en-US" b="1" dirty="0"/>
              <a:t>改造内容：</a:t>
            </a:r>
            <a:r>
              <a:rPr lang="zh-CN" altLang="en-US" sz="1800" u="none" strike="noStrike" dirty="0">
                <a:effectLst/>
              </a:rPr>
              <a:t>大白翻新，办公楼内都换门，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门厅换门</a:t>
            </a:r>
            <a:r>
              <a:rPr lang="zh-CN" altLang="en-US" sz="1800" u="none" strike="noStrike" dirty="0">
                <a:effectLst/>
              </a:rPr>
              <a:t>，维修户外台阶，棚顶翻新，安装灯，暖气改造办公楼暖气增加，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立式空调</a:t>
            </a:r>
            <a:r>
              <a:rPr lang="en-US" altLang="zh-CN" sz="1800" u="none" strike="noStrike" dirty="0">
                <a:solidFill>
                  <a:srgbClr val="FF0000"/>
                </a:solidFill>
                <a:effectLst/>
              </a:rPr>
              <a:t>2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个</a:t>
            </a:r>
            <a:r>
              <a:rPr lang="zh-CN" altLang="en-US" sz="1800" u="none" strike="noStrike" dirty="0">
                <a:effectLst/>
              </a:rPr>
              <a:t>，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开荒清洁、顶面保温、窗户封堵</a:t>
            </a:r>
            <a:endParaRPr lang="zh-CN" altLang="en-US" sz="1800" b="1" i="0" u="none" strike="noStrike" dirty="0">
              <a:solidFill>
                <a:srgbClr val="FF000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2813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11485128" y="6179871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8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471A649-08E8-4968-AAE0-74347E6C81AD}"/>
              </a:ext>
            </a:extLst>
          </p:cNvPr>
          <p:cNvSpPr txBox="1"/>
          <p:nvPr/>
        </p:nvSpPr>
        <p:spPr>
          <a:xfrm>
            <a:off x="1251337" y="960314"/>
            <a:ext cx="50778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u="none" strike="noStrike" dirty="0">
                <a:solidFill>
                  <a:srgbClr val="C00000"/>
                </a:solidFill>
                <a:effectLst/>
              </a:rPr>
              <a:t>隔一个大办公室</a:t>
            </a:r>
            <a:r>
              <a:rPr lang="zh-CN" altLang="en-US" sz="1800" u="none" strike="noStrike" dirty="0">
                <a:solidFill>
                  <a:srgbClr val="FF0000"/>
                </a:solidFill>
                <a:effectLst/>
              </a:rPr>
              <a:t>（双层玻璃灰色折页）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DB6DD5C-47D0-4294-ABF7-953D373740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093" y="1329646"/>
            <a:ext cx="4218218" cy="138729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D6E9936F-1F78-4FB3-AF01-29E4BDE2BF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5155" y="2936584"/>
            <a:ext cx="4190510" cy="138729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890C3633-CA64-4322-8A1C-C51EB349593D}"/>
              </a:ext>
            </a:extLst>
          </p:cNvPr>
          <p:cNvSpPr txBox="1"/>
          <p:nvPr/>
        </p:nvSpPr>
        <p:spPr>
          <a:xfrm>
            <a:off x="7849500" y="960314"/>
            <a:ext cx="2300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增加</a:t>
            </a:r>
            <a:r>
              <a:rPr lang="en-US" altLang="zh-CN" dirty="0">
                <a:solidFill>
                  <a:srgbClr val="C00000"/>
                </a:solidFill>
              </a:rPr>
              <a:t>3</a:t>
            </a:r>
            <a:r>
              <a:rPr lang="zh-CN" altLang="en-US" dirty="0">
                <a:solidFill>
                  <a:srgbClr val="C00000"/>
                </a:solidFill>
              </a:rPr>
              <a:t>处组散热器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437309" y="-77983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83FFED41-68A7-4CC3-82CE-1140D34EFE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838" y="1307827"/>
            <a:ext cx="5320951" cy="4833091"/>
          </a:xfrm>
          <a:prstGeom prst="rect">
            <a:avLst/>
          </a:prstGeom>
        </p:spPr>
      </p:pic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D8C3964F-05F0-4FE5-ADDA-08C0E35CBA3D}"/>
              </a:ext>
            </a:extLst>
          </p:cNvPr>
          <p:cNvCxnSpPr/>
          <p:nvPr/>
        </p:nvCxnSpPr>
        <p:spPr>
          <a:xfrm>
            <a:off x="3522846" y="1771048"/>
            <a:ext cx="0" cy="389823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图片 15">
            <a:extLst>
              <a:ext uri="{FF2B5EF4-FFF2-40B4-BE49-F238E27FC236}">
                <a16:creationId xmlns:a16="http://schemas.microsoft.com/office/drawing/2014/main" id="{6DC7B203-B6AE-4F49-AB6D-6733FC0DA9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173250">
            <a:off x="3112426" y="2271051"/>
            <a:ext cx="485775" cy="523875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3085328C-32AB-4EA0-8AE7-44541F0272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087662" y="4800554"/>
            <a:ext cx="485775" cy="523875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AD259ACB-1042-4F0F-9D00-F9E9A3269A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5155" y="4561679"/>
            <a:ext cx="4190510" cy="1540995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BB457ABD-0572-4DD8-9E6F-E30414CFD911}"/>
              </a:ext>
            </a:extLst>
          </p:cNvPr>
          <p:cNvSpPr txBox="1"/>
          <p:nvPr/>
        </p:nvSpPr>
        <p:spPr>
          <a:xfrm>
            <a:off x="6699093" y="2936584"/>
            <a:ext cx="2300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二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CE08560-4F64-42F8-8F40-963341876BF8}"/>
              </a:ext>
            </a:extLst>
          </p:cNvPr>
          <p:cNvSpPr txBox="1"/>
          <p:nvPr/>
        </p:nvSpPr>
        <p:spPr>
          <a:xfrm>
            <a:off x="6699094" y="1329646"/>
            <a:ext cx="2300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二层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BB90AE0-0FAA-410A-899F-E68324AB4354}"/>
              </a:ext>
            </a:extLst>
          </p:cNvPr>
          <p:cNvSpPr txBox="1"/>
          <p:nvPr/>
        </p:nvSpPr>
        <p:spPr>
          <a:xfrm>
            <a:off x="6699093" y="4633179"/>
            <a:ext cx="2300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一层</a:t>
            </a:r>
          </a:p>
        </p:txBody>
      </p:sp>
    </p:spTree>
    <p:extLst>
      <p:ext uri="{BB962C8B-B14F-4D97-AF65-F5344CB8AC3E}">
        <p14:creationId xmlns:p14="http://schemas.microsoft.com/office/powerpoint/2010/main" val="3954559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11485128" y="6179871"/>
            <a:ext cx="454334" cy="289512"/>
          </a:xfrm>
        </p:spPr>
        <p:txBody>
          <a:bodyPr/>
          <a:lstStyle/>
          <a:p>
            <a:fld id="{71DC3DCB-2371-40D2-8154-232EF12A1211}" type="slidenum">
              <a:rPr lang="en-GB" smtClean="0">
                <a:solidFill>
                  <a:srgbClr val="4C4C4C">
                    <a:tint val="75000"/>
                  </a:srgbClr>
                </a:solidFill>
              </a:rPr>
              <a:pPr/>
              <a:t>9</a:t>
            </a:fld>
            <a:endParaRPr lang="en-GB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8491F786-B2E6-4CE4-86D5-ED748D9E4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076" y="271545"/>
            <a:ext cx="11054615" cy="677108"/>
          </a:xfrm>
        </p:spPr>
        <p:txBody>
          <a:bodyPr/>
          <a:lstStyle/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br>
              <a:rPr lang="en-US" altLang="zh-CN" sz="2400" dirty="0">
                <a:solidFill>
                  <a:srgbClr val="00953A"/>
                </a:solidFill>
                <a:ea typeface="思源黑体" panose="020B0400000000000000" pitchFamily="34" charset="-122"/>
              </a:rPr>
            </a:b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原办公区翻新改造（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2㎡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2400" dirty="0">
              <a:solidFill>
                <a:schemeClr val="tx1"/>
              </a:solidFill>
              <a:ea typeface="思源黑体" panose="020B0400000000000000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90C3633-CA64-4322-8A1C-C51EB349593D}"/>
              </a:ext>
            </a:extLst>
          </p:cNvPr>
          <p:cNvSpPr txBox="1"/>
          <p:nvPr/>
        </p:nvSpPr>
        <p:spPr>
          <a:xfrm>
            <a:off x="4945592" y="926130"/>
            <a:ext cx="2300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</a:rPr>
              <a:t>主入口维修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D39793-AB03-48FA-9EAD-AD6CBBB69C25}"/>
              </a:ext>
            </a:extLst>
          </p:cNvPr>
          <p:cNvSpPr txBox="1">
            <a:spLocks/>
          </p:cNvSpPr>
          <p:nvPr/>
        </p:nvSpPr>
        <p:spPr>
          <a:xfrm>
            <a:off x="302555" y="230161"/>
            <a:ext cx="11277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二、客户运营</a:t>
            </a:r>
            <a:r>
              <a:rPr lang="en-US" altLang="zh-CN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-</a:t>
            </a:r>
            <a:r>
              <a:rPr lang="zh-CN" altLang="en-US" sz="2400" dirty="0">
                <a:solidFill>
                  <a:srgbClr val="006647"/>
                </a:solidFill>
                <a:ea typeface="思源黑体" panose="020B0400000000000000" pitchFamily="34" charset="-122"/>
              </a:rPr>
              <a:t>需求及改造方案</a:t>
            </a:r>
            <a:endParaRPr lang="en-US" altLang="zh-CN" sz="2400" dirty="0">
              <a:solidFill>
                <a:srgbClr val="006647"/>
              </a:solidFill>
              <a:latin typeface="思源黑体 CN Regular" panose="020B0500000000000000" pitchFamily="34" charset="-122"/>
              <a:ea typeface="思源黑体 CN Regular" panose="020B0500000000000000" pitchFamily="34" charset="-122"/>
              <a:cs typeface="Arial" panose="020B0604020202020204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D4D5330-CA70-445F-A0DA-FCEB44A749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76" y="1553594"/>
            <a:ext cx="3227031" cy="3773104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5A9E9250-208B-4F6B-A360-B91B216512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249" y="1549667"/>
            <a:ext cx="3227031" cy="3773104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C1B59913-3C3E-4986-AC02-FE9457CC8B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602" y="1549667"/>
            <a:ext cx="3227031" cy="3780959"/>
          </a:xfrm>
          <a:prstGeom prst="rect">
            <a:avLst/>
          </a:prstGeom>
        </p:spPr>
      </p:pic>
      <p:sp>
        <p:nvSpPr>
          <p:cNvPr id="21" name="矩形 20">
            <a:extLst>
              <a:ext uri="{FF2B5EF4-FFF2-40B4-BE49-F238E27FC236}">
                <a16:creationId xmlns:a16="http://schemas.microsoft.com/office/drawing/2014/main" id="{8CD611FF-8082-4C49-89B9-E5547515287A}"/>
              </a:ext>
            </a:extLst>
          </p:cNvPr>
          <p:cNvSpPr/>
          <p:nvPr/>
        </p:nvSpPr>
        <p:spPr>
          <a:xfrm>
            <a:off x="1216241" y="3355759"/>
            <a:ext cx="896644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89E1D78-25F9-477B-BEB9-FD99BE4CDCAC}"/>
              </a:ext>
            </a:extLst>
          </p:cNvPr>
          <p:cNvSpPr/>
          <p:nvPr/>
        </p:nvSpPr>
        <p:spPr>
          <a:xfrm>
            <a:off x="3301464" y="3094272"/>
            <a:ext cx="529029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A46725CE-C2F7-4876-BA1A-9B819213CA58}"/>
              </a:ext>
            </a:extLst>
          </p:cNvPr>
          <p:cNvSpPr/>
          <p:nvPr/>
        </p:nvSpPr>
        <p:spPr>
          <a:xfrm>
            <a:off x="2313591" y="3229026"/>
            <a:ext cx="896644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84E4370-8E99-48A0-A540-DB186E0AE950}"/>
              </a:ext>
            </a:extLst>
          </p:cNvPr>
          <p:cNvSpPr/>
          <p:nvPr/>
        </p:nvSpPr>
        <p:spPr>
          <a:xfrm>
            <a:off x="5092300" y="4159592"/>
            <a:ext cx="896644" cy="710214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6DFE14A-5C39-4D22-8FDE-D69AF2EA2488}"/>
              </a:ext>
            </a:extLst>
          </p:cNvPr>
          <p:cNvSpPr/>
          <p:nvPr/>
        </p:nvSpPr>
        <p:spPr>
          <a:xfrm>
            <a:off x="9280677" y="2530594"/>
            <a:ext cx="896644" cy="142042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ED535025-4928-47F5-B696-FB7C3496E774}"/>
              </a:ext>
            </a:extLst>
          </p:cNvPr>
          <p:cNvSpPr txBox="1"/>
          <p:nvPr/>
        </p:nvSpPr>
        <p:spPr>
          <a:xfrm>
            <a:off x="700076" y="5304406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台阶有破损裂缝维修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台阶两侧防寒墙面开裂维修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白钢扶手有锈蚀需刷银粉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21935071-4769-45EE-8436-43B4187DCC4F}"/>
              </a:ext>
            </a:extLst>
          </p:cNvPr>
          <p:cNvSpPr txBox="1"/>
          <p:nvPr/>
        </p:nvSpPr>
        <p:spPr>
          <a:xfrm>
            <a:off x="7865625" y="5461379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门斗里侧棚面横梁需除锈刷漆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538712D2-B7BC-4AEB-900F-C5CB1004D726}"/>
              </a:ext>
            </a:extLst>
          </p:cNvPr>
          <p:cNvSpPr txBox="1"/>
          <p:nvPr/>
        </p:nvSpPr>
        <p:spPr>
          <a:xfrm>
            <a:off x="4218832" y="5327148"/>
            <a:ext cx="69822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地面瓷砖铺贴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</a:t>
            </a:r>
            <a:r>
              <a:rPr lang="en-US" altLang="zh-CN" dirty="0"/>
              <a:t>2</a:t>
            </a:r>
            <a:r>
              <a:rPr lang="zh-CN" altLang="en-US" dirty="0"/>
              <a:t>趟门更换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92918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LP 2020">
  <a:themeElements>
    <a:clrScheme name="GLP">
      <a:dk1>
        <a:srgbClr val="4C4C4C"/>
      </a:dk1>
      <a:lt1>
        <a:sysClr val="window" lastClr="FFFFFF"/>
      </a:lt1>
      <a:dk2>
        <a:srgbClr val="555759"/>
      </a:dk2>
      <a:lt2>
        <a:srgbClr val="E9E8E7"/>
      </a:lt2>
      <a:accent1>
        <a:srgbClr val="006647"/>
      </a:accent1>
      <a:accent2>
        <a:srgbClr val="00953A"/>
      </a:accent2>
      <a:accent3>
        <a:srgbClr val="82BC00"/>
      </a:accent3>
      <a:accent4>
        <a:srgbClr val="B7B7B7"/>
      </a:accent4>
      <a:accent5>
        <a:srgbClr val="A5C89A"/>
      </a:accent5>
      <a:accent6>
        <a:srgbClr val="315517"/>
      </a:accent6>
      <a:hlink>
        <a:srgbClr val="203B14"/>
      </a:hlink>
      <a:folHlink>
        <a:srgbClr val="DFE181"/>
      </a:folHlink>
    </a:clrScheme>
    <a:fontScheme name="GLP fonts">
      <a:majorFont>
        <a:latin typeface="Lato Black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400" b="0" i="0" dirty="0" smtClean="0">
            <a:solidFill>
              <a:srgbClr val="000000"/>
            </a:solidFill>
            <a:effectLst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40</TotalTime>
  <Words>1685</Words>
  <Application>Microsoft Office PowerPoint</Application>
  <PresentationFormat>宽屏</PresentationFormat>
  <Paragraphs>204</Paragraphs>
  <Slides>25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6" baseType="lpstr">
      <vt:lpstr>等线</vt:lpstr>
      <vt:lpstr>楷体</vt:lpstr>
      <vt:lpstr>思源黑体 CN Light</vt:lpstr>
      <vt:lpstr>思源黑体 CN Regular</vt:lpstr>
      <vt:lpstr>宋体</vt:lpstr>
      <vt:lpstr>微软雅黑</vt:lpstr>
      <vt:lpstr>Arial</vt:lpstr>
      <vt:lpstr>Calibri</vt:lpstr>
      <vt:lpstr>Lato</vt:lpstr>
      <vt:lpstr>GLP 2020</vt:lpstr>
      <vt:lpstr>think-cell 幻灯片</vt:lpstr>
      <vt:lpstr>华昌汽车运营需求 解决方案</vt:lpstr>
      <vt:lpstr>一、租赁面积方案 二、客户运营需求及改造方案 三、改造预算 </vt:lpstr>
      <vt:lpstr>一、租赁面积方案（ 4905.56 ㎡）</vt:lpstr>
      <vt:lpstr>二、客户运营-需求及解决方案</vt:lpstr>
      <vt:lpstr>PowerPoint 演示文稿</vt:lpstr>
      <vt:lpstr> </vt:lpstr>
      <vt:lpstr> </vt:lpstr>
      <vt:lpstr> 2、原办公区翻新改造（262㎡）</vt:lpstr>
      <vt:lpstr> 2、原办公区翻新改造（262㎡）</vt:lpstr>
      <vt:lpstr> 2、原办公区翻新改造（262㎡）</vt:lpstr>
      <vt:lpstr> 2、原办公区翻新改造（262㎡）</vt:lpstr>
      <vt:lpstr> 2、原办公区翻新改造（262㎡）</vt:lpstr>
      <vt:lpstr> 2、原办公区翻新改造（262㎡）</vt:lpstr>
      <vt:lpstr> 2、原办公区翻新改造（262㎡）</vt:lpstr>
      <vt:lpstr> 2、原办公区翻新改造（262㎡）</vt:lpstr>
      <vt:lpstr> </vt:lpstr>
      <vt:lpstr> </vt:lpstr>
      <vt:lpstr> </vt:lpstr>
      <vt:lpstr> </vt:lpstr>
      <vt:lpstr>PowerPoint 演示文稿</vt:lpstr>
      <vt:lpstr>PowerPoint 演示文稿</vt:lpstr>
      <vt:lpstr>6、供暖管线改造（隔断侧增加散热器） </vt:lpstr>
      <vt:lpstr>7、供暖管线改造（A1库仅租赁区域供暖）</vt:lpstr>
      <vt:lpstr>8、增加电缆 </vt:lpstr>
      <vt:lpstr>PowerPoint 演示文稿</vt:lpstr>
    </vt:vector>
  </TitlesOfParts>
  <Company>GLPRO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gt Template</dc:title>
  <dc:creator>idong.sh@glp.com</dc:creator>
  <cp:lastModifiedBy>Zhang, Steven</cp:lastModifiedBy>
  <cp:revision>1818</cp:revision>
  <cp:lastPrinted>2024-04-22T10:46:49Z</cp:lastPrinted>
  <dcterms:created xsi:type="dcterms:W3CDTF">2021-12-22T01:57:58Z</dcterms:created>
  <dcterms:modified xsi:type="dcterms:W3CDTF">2024-10-12T08:28:50Z</dcterms:modified>
</cp:coreProperties>
</file>